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2"/>
    <p:sldMasterId id="2147483660" r:id="rId3"/>
  </p:sldMasterIdLst>
  <p:notesMasterIdLst>
    <p:notesMasterId r:id="rId6"/>
  </p:notesMasterIdLst>
  <p:sldIdLst>
    <p:sldId id="258" r:id="rId4"/>
    <p:sldId id="257" r:id="rId5"/>
  </p:sldIdLst>
  <p:sldSz cx="9144000" cy="6858000" type="screen4x3"/>
  <p:notesSz cx="6858000" cy="9144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75" d="100"/>
          <a:sy n="75" d="100"/>
        </p:scale>
        <p:origin x="-1236" y="10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Master" Target="slideMasters/slideMaster2.xml"/><Relationship Id="rId7" Type="http://schemas.openxmlformats.org/officeDocument/2006/relationships/presProps" Target="presProp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notesMaster" Target="notesMasters/notesMaster1.xml"/><Relationship Id="rId5" Type="http://schemas.openxmlformats.org/officeDocument/2006/relationships/slide" Target="slides/slide2.xml"/><Relationship Id="rId10"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tr-T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8FA8310-4A6C-4897-9767-550CC84266EC}" type="datetimeFigureOut">
              <a:rPr lang="tr-TR" smtClean="0"/>
              <a:t>5.03.2019</a:t>
            </a:fld>
            <a:endParaRPr lang="tr-TR"/>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tr-TR"/>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tr-T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00FC4C7-3C2C-4E4D-8391-54961EBF9697}" type="slidenum">
              <a:rPr lang="tr-TR" smtClean="0"/>
              <a:t>‹#›</a:t>
            </a:fld>
            <a:endParaRPr lang="tr-TR"/>
          </a:p>
        </p:txBody>
      </p:sp>
    </p:spTree>
    <p:extLst>
      <p:ext uri="{BB962C8B-B14F-4D97-AF65-F5344CB8AC3E}">
        <p14:creationId xmlns:p14="http://schemas.microsoft.com/office/powerpoint/2010/main" val="3161368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tr-TR" dirty="0" smtClean="0"/>
              <a:t>Lütfen katılımcı sözleşmesini onaylayınız.</a:t>
            </a:r>
            <a:endParaRPr lang="tr-TR" dirty="0"/>
          </a:p>
        </p:txBody>
      </p:sp>
      <p:sp>
        <p:nvSpPr>
          <p:cNvPr id="4" name="Slide Number Placeholder 3"/>
          <p:cNvSpPr>
            <a:spLocks noGrp="1"/>
          </p:cNvSpPr>
          <p:nvPr>
            <p:ph type="sldNum" sz="quarter" idx="10"/>
          </p:nvPr>
        </p:nvSpPr>
        <p:spPr/>
        <p:txBody>
          <a:bodyPr/>
          <a:lstStyle/>
          <a:p>
            <a:fld id="{A00FC4C7-3C2C-4E4D-8391-54961EBF9697}" type="slidenum">
              <a:rPr lang="tr-TR" smtClean="0"/>
              <a:t>1</a:t>
            </a:fld>
            <a:endParaRPr lang="tr-TR"/>
          </a:p>
        </p:txBody>
      </p:sp>
    </p:spTree>
    <p:extLst>
      <p:ext uri="{BB962C8B-B14F-4D97-AF65-F5344CB8AC3E}">
        <p14:creationId xmlns:p14="http://schemas.microsoft.com/office/powerpoint/2010/main" val="38650852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dirty="0" smtClean="0"/>
              <a:t>Lütfen katılımcı sözleşmesini onaylayınız.</a:t>
            </a:r>
          </a:p>
        </p:txBody>
      </p:sp>
      <p:sp>
        <p:nvSpPr>
          <p:cNvPr id="4" name="Slide Number Placeholder 3"/>
          <p:cNvSpPr>
            <a:spLocks noGrp="1"/>
          </p:cNvSpPr>
          <p:nvPr>
            <p:ph type="sldNum" sz="quarter" idx="10"/>
          </p:nvPr>
        </p:nvSpPr>
        <p:spPr/>
        <p:txBody>
          <a:bodyPr/>
          <a:lstStyle/>
          <a:p>
            <a:fld id="{A00FC4C7-3C2C-4E4D-8391-54961EBF9697}" type="slidenum">
              <a:rPr lang="tr-TR" smtClean="0"/>
              <a:t>2</a:t>
            </a:fld>
            <a:endParaRPr lang="tr-TR"/>
          </a:p>
        </p:txBody>
      </p:sp>
    </p:spTree>
    <p:extLst>
      <p:ext uri="{BB962C8B-B14F-4D97-AF65-F5344CB8AC3E}">
        <p14:creationId xmlns:p14="http://schemas.microsoft.com/office/powerpoint/2010/main" val="14221116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customXml" Target="../../customXml/item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Rectangle 7"/>
          <p:cNvSpPr/>
          <p:nvPr userDrawn="1"/>
        </p:nvSpPr>
        <p:spPr>
          <a:xfrm>
            <a:off x="323528" y="404664"/>
            <a:ext cx="8568952" cy="6422143"/>
          </a:xfrm>
          <a:prstGeom prst="rect">
            <a:avLst/>
          </a:prstGeom>
        </p:spPr>
        <p:txBody>
          <a:bodyPr wrap="square">
            <a:spAutoFit/>
          </a:bodyPr>
          <a:lstStyle/>
          <a:p>
            <a:pPr algn="just">
              <a:lnSpc>
                <a:spcPct val="107000"/>
              </a:lnSpc>
              <a:spcAft>
                <a:spcPts val="800"/>
              </a:spcAft>
            </a:pPr>
            <a:r>
              <a:rPr lang="tr-TR" sz="1200" dirty="0" smtClean="0">
                <a:effectLst/>
                <a:latin typeface="Cambria"/>
                <a:ea typeface="Calibri"/>
                <a:cs typeface="Times New Roman"/>
              </a:rPr>
              <a:t>DHL Lojistik Hizmetleri Anonim Şirketi tarafından </a:t>
            </a:r>
            <a:r>
              <a:rPr lang="tr-TR" sz="1200" dirty="0" smtClean="0">
                <a:effectLst/>
                <a:highlight>
                  <a:srgbClr val="FFFF00"/>
                </a:highlight>
                <a:latin typeface="Cambria"/>
                <a:ea typeface="Calibri"/>
                <a:cs typeface="Times New Roman"/>
              </a:rPr>
              <a:t>[15.03.2019 – 28.06.2019]</a:t>
            </a:r>
            <a:r>
              <a:rPr lang="tr-TR" sz="1200" dirty="0" smtClean="0">
                <a:effectLst/>
                <a:latin typeface="Cambria"/>
                <a:ea typeface="Calibri"/>
                <a:cs typeface="Times New Roman"/>
              </a:rPr>
              <a:t> tarihinde düzenlenen </a:t>
            </a:r>
            <a:r>
              <a:rPr lang="tr-TR" sz="1200" dirty="0" smtClean="0">
                <a:effectLst/>
                <a:highlight>
                  <a:srgbClr val="FFFF00"/>
                </a:highlight>
                <a:latin typeface="Cambria"/>
                <a:ea typeface="Calibri"/>
                <a:cs typeface="Times New Roman"/>
              </a:rPr>
              <a:t>[Teknolojistik Fikirler]</a:t>
            </a:r>
            <a:r>
              <a:rPr lang="tr-TR" sz="1200" dirty="0" smtClean="0">
                <a:effectLst/>
                <a:latin typeface="Cambria"/>
                <a:ea typeface="Calibri"/>
                <a:cs typeface="Times New Roman"/>
              </a:rPr>
              <a:t> konulu yarışmada sunacağımız fikir/proje ile ilgili kullanma hakkı, işleme hakkı, çoğaltma hakkı, yayma hakkı, temsil hakkı, işaret, ses ve/veya görüntü nakline yarayan araçlarla umuma iletim hakkı dahil ancak bunlarla sınırlı olmaksızın tüm mali haklari ile bağlantılı haklarının  5846 Sayılı Fikir ve Sanat Eserleri Kanunu ve ilgili yasal mevzuat uyarınca DHL’e ait olacağını; bu fikir/proje ile ilgili </a:t>
            </a:r>
            <a:r>
              <a:rPr lang="tr-TR" sz="1200" dirty="0" smtClean="0">
                <a:effectLst/>
                <a:latin typeface="Cambria"/>
                <a:ea typeface="MS ??"/>
                <a:cs typeface="Times New Roman"/>
              </a:rPr>
              <a:t>patent, faydalı model, endüstriyel tasarım gibi hukuken korunabilir nitelikte bir ürün ortaya çıkması halinde, bu proje ve ürüne yönelik başvuruyu eser sahibi olarak DHL’in yapacağını ve yine bu ürünle ilgili işleme hakkı, çoğaltma hakkı, yayma hakkı, temsil hakkı, işaret, ses ve/veya görüntü nakline yarayan araçlarla umuma iletim hakkı dahil ancak bunlarla sınırlı olmaksızın tüm mali hakları ile bağlantılı haklarının 5846 Sayılı Fikir ve Sanat Eserleri Kanunu ile yasal mevzuat uyarınca DHL’e ait olacağını ve bu konularla ilgili DHL’den hiçbir nam ve ad altında herhangi bir talebimiz olmayacağını kabul ederiz. Yarışmaya konu fikir/proje ile ilgili ve/veya bunlardan kaynaklı meydana gelen patent, faydalı model, endüstriyel tasarım gibi korunabilir hukuken korunabilir nitelikte bir üründen elde edilecek her türlü gelir DHL’e ait olacaktır. Ayrıca DHL’in sunduğumuz fikir/projeyi geliştirme, eklemeler yapma, modifiye etme ve/veya farklılaştırarak yeni bir proje, patent, faydalı model gibi hukuken korunabilir nitelikte bir ürün ortaya çıkması halinde, bu ortaya çıkan yeni proje ve/veya ürün ile ilgili her türlü mali haklar ile bağlantılı hakların DHL’e ait olduğunu,  DHL’den hiçbir hak ve alacak talebimiz olmayacağını kabul ederiz. </a:t>
            </a:r>
            <a:endParaRPr lang="tr-TR" sz="1200" dirty="0" smtClean="0">
              <a:effectLst/>
              <a:latin typeface="+mn-lt"/>
              <a:ea typeface="Calibri"/>
              <a:cs typeface="Times New Roman"/>
            </a:endParaRPr>
          </a:p>
          <a:p>
            <a:pPr algn="just">
              <a:lnSpc>
                <a:spcPct val="107000"/>
              </a:lnSpc>
              <a:spcAft>
                <a:spcPts val="800"/>
              </a:spcAft>
            </a:pPr>
            <a:r>
              <a:rPr lang="tr-TR" sz="1200" dirty="0" smtClean="0">
                <a:effectLst/>
                <a:latin typeface="Cambria"/>
                <a:ea typeface="MS ??"/>
                <a:cs typeface="Times New Roman"/>
              </a:rPr>
              <a:t>Yarışmada elde ettiğimiz DHL ve/veya diğer katılımcılar ve/veya fikir/projeleri ile ilgili edindiğimiz her türlü bilgiyi gizli tutacağımızı, bu bilgileri yaymayacağımızı, hiçbir şekilde kullanmayacağımızı, çoğaltmayacağımızı kabul, beyan ve taahhüt ederiz. İşbu taahhütnamedeki yükümlülüklerimizin süresiz olarak devam edeceğini ve bu taahhütnamedeki yükümlülüklerimize aykırı hareket etmemiz halinde DHL’in ve üçüncü şahışların uğrayacağı her türlü zararı tazmin etmekle yükümlü olduğumuzu bilmekte ve kabul etmekteyiz. </a:t>
            </a:r>
            <a:endParaRPr lang="tr-TR" sz="1200" dirty="0" smtClean="0">
              <a:effectLst/>
              <a:latin typeface="+mn-lt"/>
              <a:ea typeface="Calibri"/>
              <a:cs typeface="Times New Roman"/>
            </a:endParaRPr>
          </a:p>
          <a:p>
            <a:pPr algn="just">
              <a:lnSpc>
                <a:spcPct val="100000"/>
              </a:lnSpc>
              <a:spcAft>
                <a:spcPts val="800"/>
              </a:spcAft>
            </a:pPr>
            <a:r>
              <a:rPr lang="tr-TR" sz="1200" dirty="0" smtClean="0">
                <a:effectLst/>
                <a:latin typeface="Cambria"/>
                <a:ea typeface="MS ??"/>
                <a:cs typeface="Times New Roman"/>
              </a:rPr>
              <a:t>Ayrıca DHL’in, dilediği zaman yarışmayı katılımcılara bildirimde bulunarak sona erdirebileceğini bilmekteyiz. Bu nedenle DHL’den hiçbir hak ve talepte bulunmayacağımızı kabul ederiz. DHL tarafından düzenlenen bu yarışmanın, tarafımıza, yarışma sonucu kazanan tarafa verilecek DHL tarafından takdir edilen ödül dışında, hiçbir maddi ve manevi çıkar sağlamayacağını bildiğimizi ve hiçbir şekilde böyle bir beklentimiz olmadığını kabul ve beyan ederiz. </a:t>
            </a:r>
            <a:endParaRPr lang="tr-TR" sz="1200" dirty="0" smtClean="0">
              <a:effectLst/>
              <a:latin typeface="+mn-lt"/>
              <a:ea typeface="MS ??"/>
              <a:cs typeface="Times New Roman"/>
            </a:endParaRPr>
          </a:p>
          <a:p>
            <a:pPr algn="just">
              <a:lnSpc>
                <a:spcPct val="100000"/>
              </a:lnSpc>
              <a:spcAft>
                <a:spcPts val="800"/>
              </a:spcAft>
            </a:pPr>
            <a:r>
              <a:rPr lang="tr-TR" sz="1200" dirty="0" smtClean="0">
                <a:effectLst/>
                <a:highlight>
                  <a:srgbClr val="FFFF00"/>
                </a:highlight>
                <a:latin typeface="+mn-lt"/>
                <a:ea typeface="Calibri"/>
                <a:cs typeface="Times New Roman"/>
              </a:rPr>
              <a:t>						</a:t>
            </a:r>
            <a:r>
              <a:rPr lang="tr-TR" sz="1100" kern="1200" dirty="0" smtClean="0">
                <a:solidFill>
                  <a:schemeClr val="tx1"/>
                </a:solidFill>
                <a:effectLst/>
                <a:highlight>
                  <a:srgbClr val="FFFF00"/>
                </a:highlight>
                <a:latin typeface="Cambria"/>
                <a:ea typeface="Calibri"/>
                <a:cs typeface="Times New Roman"/>
              </a:rPr>
              <a:t>Katılımcı sözleşmesini okudum ve onaylıyorm.</a:t>
            </a:r>
          </a:p>
          <a:p>
            <a:pPr algn="l">
              <a:lnSpc>
                <a:spcPct val="100000"/>
              </a:lnSpc>
              <a:spcAft>
                <a:spcPts val="800"/>
              </a:spcAft>
            </a:pPr>
            <a:r>
              <a:rPr lang="tr-TR" sz="1100" dirty="0" smtClean="0">
                <a:effectLst/>
                <a:highlight>
                  <a:srgbClr val="FFFF00"/>
                </a:highlight>
                <a:latin typeface="Cambria"/>
                <a:ea typeface="Calibri"/>
                <a:cs typeface="Times New Roman"/>
              </a:rPr>
              <a:t>						</a:t>
            </a:r>
            <a:r>
              <a:rPr lang="tr-TR" sz="1100" kern="1200" dirty="0" smtClean="0">
                <a:solidFill>
                  <a:schemeClr val="tx1"/>
                </a:solidFill>
                <a:effectLst/>
                <a:latin typeface="Cambria"/>
                <a:ea typeface="MS ??"/>
                <a:cs typeface="Times New Roman"/>
              </a:rPr>
              <a:t>Yarışmacının,</a:t>
            </a:r>
          </a:p>
          <a:p>
            <a:pPr algn="l">
              <a:lnSpc>
                <a:spcPct val="100000"/>
              </a:lnSpc>
              <a:spcAft>
                <a:spcPts val="800"/>
              </a:spcAft>
            </a:pPr>
            <a:r>
              <a:rPr lang="tr-TR" sz="1100" kern="1200" dirty="0" smtClean="0">
                <a:solidFill>
                  <a:schemeClr val="tx1"/>
                </a:solidFill>
                <a:effectLst/>
                <a:latin typeface="Cambria"/>
                <a:ea typeface="MS ??"/>
                <a:cs typeface="Times New Roman"/>
              </a:rPr>
              <a:t>					  	Adı Soyadı 	:</a:t>
            </a:r>
          </a:p>
          <a:p>
            <a:pPr algn="l">
              <a:lnSpc>
                <a:spcPct val="100000"/>
              </a:lnSpc>
              <a:spcAft>
                <a:spcPts val="800"/>
              </a:spcAft>
            </a:pPr>
            <a:r>
              <a:rPr lang="tr-TR" sz="1100" kern="1200" dirty="0" smtClean="0">
                <a:solidFill>
                  <a:schemeClr val="tx1"/>
                </a:solidFill>
                <a:effectLst/>
                <a:latin typeface="Cambria"/>
                <a:ea typeface="MS ??"/>
                <a:cs typeface="Times New Roman"/>
              </a:rPr>
              <a:t>						İmza	:</a:t>
            </a:r>
          </a:p>
          <a:p>
            <a:pPr algn="l">
              <a:lnSpc>
                <a:spcPct val="100000"/>
              </a:lnSpc>
              <a:spcAft>
                <a:spcPts val="800"/>
              </a:spcAft>
            </a:pPr>
            <a:r>
              <a:rPr lang="tr-TR" sz="1100" kern="1200" dirty="0" smtClean="0">
                <a:solidFill>
                  <a:schemeClr val="tx1"/>
                </a:solidFill>
                <a:effectLst/>
                <a:latin typeface="Cambria"/>
                <a:ea typeface="MS ??"/>
                <a:cs typeface="Times New Roman"/>
              </a:rPr>
              <a:t>						Ve/Veya</a:t>
            </a:r>
          </a:p>
          <a:p>
            <a:pPr algn="l">
              <a:lnSpc>
                <a:spcPct val="100000"/>
              </a:lnSpc>
              <a:spcAft>
                <a:spcPts val="800"/>
              </a:spcAft>
            </a:pPr>
            <a:r>
              <a:rPr lang="tr-TR" sz="1100" kern="1200" dirty="0" smtClean="0">
                <a:solidFill>
                  <a:schemeClr val="tx1"/>
                </a:solidFill>
                <a:effectLst/>
                <a:latin typeface="Cambria"/>
                <a:ea typeface="MS ??"/>
                <a:cs typeface="Times New Roman"/>
              </a:rPr>
              <a:t>						Onay	:</a:t>
            </a:r>
            <a:endParaRPr lang="tr-TR" sz="1100" kern="1200" dirty="0">
              <a:solidFill>
                <a:schemeClr val="tx1"/>
              </a:solidFill>
              <a:effectLst/>
              <a:latin typeface="Cambria"/>
              <a:ea typeface="MS ??"/>
              <a:cs typeface="Times New Roman"/>
            </a:endParaRPr>
          </a:p>
        </p:txBody>
      </p:sp>
      <p:sp>
        <p:nvSpPr>
          <p:cNvPr id="9" name="TextBox 8"/>
          <p:cNvSpPr txBox="1"/>
          <p:nvPr userDrawn="1"/>
        </p:nvSpPr>
        <p:spPr>
          <a:xfrm>
            <a:off x="2600050" y="44624"/>
            <a:ext cx="4107728" cy="369332"/>
          </a:xfrm>
          <a:prstGeom prst="rect">
            <a:avLst/>
          </a:prstGeom>
          <a:noFill/>
        </p:spPr>
        <p:txBody>
          <a:bodyPr wrap="none" rtlCol="0">
            <a:spAutoFit/>
          </a:bodyPr>
          <a:lstStyle/>
          <a:p>
            <a:r>
              <a:rPr lang="tr-TR" b="1" dirty="0" smtClean="0"/>
              <a:t>TAAHHÜTNAME (KATILIMCI SÖZLEŞMESİ)</a:t>
            </a:r>
            <a:endParaRPr lang="tr-TR" b="1" dirty="0"/>
          </a:p>
        </p:txBody>
      </p:sp>
    </p:spTree>
    <p:extLst>
      <p:ext uri="{BB962C8B-B14F-4D97-AF65-F5344CB8AC3E}">
        <p14:creationId xmlns:p14="http://schemas.microsoft.com/office/powerpoint/2010/main" val="24404398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Content: title an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821789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0" name="Textplatzhalter 29"/>
          <p:cNvSpPr>
            <a:spLocks noGrp="1"/>
          </p:cNvSpPr>
          <p:nvPr>
            <p:ph type="body" sz="quarter" idx="10" hasCustomPrompt="1"/>
          </p:nvPr>
        </p:nvSpPr>
        <p:spPr>
          <a:xfrm>
            <a:off x="1276351" y="190500"/>
            <a:ext cx="3799706" cy="214164"/>
          </a:xfrm>
          <a:prstGeom prst="rect">
            <a:avLst/>
          </a:prstGeom>
        </p:spPr>
        <p:txBody>
          <a:bodyPr lIns="18000" tIns="18000" rIns="18000" bIns="18000"/>
          <a:lstStyle>
            <a:lvl1pPr>
              <a:defRPr sz="1100"/>
            </a:lvl1pPr>
          </a:lstStyle>
          <a:p>
            <a:pPr lvl="0"/>
            <a:r>
              <a:rPr lang="tr-TR" noProof="0" dirty="0" smtClean="0"/>
              <a:t>Proje İsmi</a:t>
            </a:r>
            <a:endParaRPr lang="en-US" noProof="0" dirty="0"/>
          </a:p>
        </p:txBody>
      </p:sp>
      <p:sp>
        <p:nvSpPr>
          <p:cNvPr id="78" name="Textplatzhalter 29"/>
          <p:cNvSpPr>
            <a:spLocks noGrp="1"/>
          </p:cNvSpPr>
          <p:nvPr>
            <p:ph type="body" sz="quarter" idx="11" hasCustomPrompt="1"/>
          </p:nvPr>
        </p:nvSpPr>
        <p:spPr>
          <a:xfrm>
            <a:off x="600074" y="1009650"/>
            <a:ext cx="609601" cy="190498"/>
          </a:xfrm>
          <a:prstGeom prst="rect">
            <a:avLst/>
          </a:prstGeom>
        </p:spPr>
        <p:txBody>
          <a:bodyPr lIns="18000" tIns="18000" rIns="18000" bIns="18000"/>
          <a:lstStyle>
            <a:lvl1pPr>
              <a:lnSpc>
                <a:spcPct val="100000"/>
              </a:lnSpc>
              <a:spcAft>
                <a:spcPts val="0"/>
              </a:spcAft>
              <a:defRPr sz="1000" baseline="0"/>
            </a:lvl1pPr>
          </a:lstStyle>
          <a:p>
            <a:pPr lvl="0"/>
            <a:r>
              <a:rPr lang="tr-TR" noProof="0" dirty="0" smtClean="0"/>
              <a:t>İsiminiz</a:t>
            </a:r>
            <a:endParaRPr lang="en-US" noProof="0" dirty="0"/>
          </a:p>
        </p:txBody>
      </p:sp>
      <p:sp>
        <p:nvSpPr>
          <p:cNvPr id="80" name="Textplatzhalter 29"/>
          <p:cNvSpPr>
            <a:spLocks noGrp="1"/>
          </p:cNvSpPr>
          <p:nvPr>
            <p:ph type="body" sz="quarter" idx="13" hasCustomPrompt="1"/>
          </p:nvPr>
        </p:nvSpPr>
        <p:spPr>
          <a:xfrm>
            <a:off x="2457449" y="990600"/>
            <a:ext cx="1019176" cy="247648"/>
          </a:xfrm>
          <a:prstGeom prst="rect">
            <a:avLst/>
          </a:prstGeom>
        </p:spPr>
        <p:txBody>
          <a:bodyPr lIns="18000" tIns="18000" rIns="18000" bIns="18000"/>
          <a:lstStyle>
            <a:lvl1pPr>
              <a:lnSpc>
                <a:spcPct val="100000"/>
              </a:lnSpc>
              <a:spcAft>
                <a:spcPts val="0"/>
              </a:spcAft>
              <a:defRPr sz="1000" baseline="0"/>
            </a:lvl1pPr>
          </a:lstStyle>
          <a:p>
            <a:pPr lvl="0"/>
            <a:r>
              <a:rPr lang="tr-TR" noProof="0" dirty="0" smtClean="0"/>
              <a:t>Üniversiteniz</a:t>
            </a:r>
            <a:endParaRPr lang="en-US" noProof="0" dirty="0"/>
          </a:p>
        </p:txBody>
      </p:sp>
      <p:sp>
        <p:nvSpPr>
          <p:cNvPr id="81" name="Textplatzhalter 29"/>
          <p:cNvSpPr>
            <a:spLocks noGrp="1"/>
          </p:cNvSpPr>
          <p:nvPr>
            <p:ph type="body" sz="quarter" idx="14" hasCustomPrompt="1"/>
          </p:nvPr>
        </p:nvSpPr>
        <p:spPr>
          <a:xfrm>
            <a:off x="3543300" y="990600"/>
            <a:ext cx="1495425" cy="247648"/>
          </a:xfrm>
          <a:prstGeom prst="rect">
            <a:avLst/>
          </a:prstGeom>
        </p:spPr>
        <p:txBody>
          <a:bodyPr lIns="18000" tIns="18000" rIns="18000" bIns="18000"/>
          <a:lstStyle>
            <a:lvl1pPr>
              <a:lnSpc>
                <a:spcPct val="100000"/>
              </a:lnSpc>
              <a:spcAft>
                <a:spcPts val="0"/>
              </a:spcAft>
              <a:defRPr sz="1000"/>
            </a:lvl1pPr>
          </a:lstStyle>
          <a:p>
            <a:pPr lvl="0"/>
            <a:r>
              <a:rPr lang="tr-TR" noProof="0" dirty="0" smtClean="0"/>
              <a:t>Bölümünüz</a:t>
            </a:r>
            <a:endParaRPr lang="en-US" noProof="0" dirty="0"/>
          </a:p>
        </p:txBody>
      </p:sp>
      <p:sp>
        <p:nvSpPr>
          <p:cNvPr id="82" name="Textplatzhalter 29"/>
          <p:cNvSpPr>
            <a:spLocks noGrp="1"/>
          </p:cNvSpPr>
          <p:nvPr>
            <p:ph type="body" sz="quarter" idx="15" hasCustomPrompt="1"/>
          </p:nvPr>
        </p:nvSpPr>
        <p:spPr>
          <a:xfrm>
            <a:off x="6819899" y="990600"/>
            <a:ext cx="1990725" cy="247648"/>
          </a:xfrm>
          <a:prstGeom prst="rect">
            <a:avLst/>
          </a:prstGeom>
        </p:spPr>
        <p:txBody>
          <a:bodyPr lIns="18000" tIns="18000" rIns="18000" bIns="18000"/>
          <a:lstStyle>
            <a:lvl1pPr>
              <a:lnSpc>
                <a:spcPct val="100000"/>
              </a:lnSpc>
              <a:spcAft>
                <a:spcPts val="0"/>
              </a:spcAft>
              <a:defRPr sz="1000" baseline="0"/>
            </a:lvl1pPr>
          </a:lstStyle>
          <a:p>
            <a:pPr lvl="0"/>
            <a:r>
              <a:rPr lang="tr-TR" noProof="0" dirty="0" smtClean="0"/>
              <a:t>Görev Tanımı</a:t>
            </a:r>
            <a:endParaRPr lang="en-US" noProof="0" dirty="0"/>
          </a:p>
        </p:txBody>
      </p:sp>
      <p:sp>
        <p:nvSpPr>
          <p:cNvPr id="90" name="Textplatzhalter 29"/>
          <p:cNvSpPr>
            <a:spLocks noGrp="1"/>
          </p:cNvSpPr>
          <p:nvPr>
            <p:ph type="body" sz="quarter" idx="18" hasCustomPrompt="1"/>
          </p:nvPr>
        </p:nvSpPr>
        <p:spPr>
          <a:xfrm>
            <a:off x="2457449" y="1333500"/>
            <a:ext cx="1019176" cy="247648"/>
          </a:xfrm>
          <a:prstGeom prst="rect">
            <a:avLst/>
          </a:prstGeom>
        </p:spPr>
        <p:txBody>
          <a:bodyPr lIns="18000" tIns="18000" rIns="18000" bIns="18000"/>
          <a:lstStyle>
            <a:lvl1pPr>
              <a:lnSpc>
                <a:spcPct val="100000"/>
              </a:lnSpc>
              <a:spcAft>
                <a:spcPts val="0"/>
              </a:spcAft>
              <a:defRPr sz="1000"/>
            </a:lvl1pPr>
          </a:lstStyle>
          <a:p>
            <a:pPr lvl="0"/>
            <a:r>
              <a:rPr lang="tr-TR" noProof="0" dirty="0" smtClean="0"/>
              <a:t>Üniversiteniz</a:t>
            </a:r>
            <a:endParaRPr lang="en-US" noProof="0" dirty="0"/>
          </a:p>
        </p:txBody>
      </p:sp>
      <p:sp>
        <p:nvSpPr>
          <p:cNvPr id="91" name="Textplatzhalter 29"/>
          <p:cNvSpPr>
            <a:spLocks noGrp="1"/>
          </p:cNvSpPr>
          <p:nvPr>
            <p:ph type="body" sz="quarter" idx="19" hasCustomPrompt="1"/>
          </p:nvPr>
        </p:nvSpPr>
        <p:spPr>
          <a:xfrm>
            <a:off x="3543300" y="1333500"/>
            <a:ext cx="1495425" cy="247648"/>
          </a:xfrm>
          <a:prstGeom prst="rect">
            <a:avLst/>
          </a:prstGeom>
        </p:spPr>
        <p:txBody>
          <a:bodyPr lIns="18000" tIns="18000" rIns="18000" bIns="18000"/>
          <a:lstStyle>
            <a:lvl1pPr>
              <a:lnSpc>
                <a:spcPct val="100000"/>
              </a:lnSpc>
              <a:spcAft>
                <a:spcPts val="0"/>
              </a:spcAft>
              <a:defRPr sz="1000"/>
            </a:lvl1pPr>
          </a:lstStyle>
          <a:p>
            <a:pPr lvl="0"/>
            <a:r>
              <a:rPr lang="tr-TR" noProof="0" dirty="0" smtClean="0"/>
              <a:t>Bölümünüz</a:t>
            </a:r>
            <a:endParaRPr lang="en-US" noProof="0" dirty="0"/>
          </a:p>
        </p:txBody>
      </p:sp>
      <p:sp>
        <p:nvSpPr>
          <p:cNvPr id="95" name="Textplatzhalter 29"/>
          <p:cNvSpPr>
            <a:spLocks noGrp="1"/>
          </p:cNvSpPr>
          <p:nvPr>
            <p:ph type="body" sz="quarter" idx="23" hasCustomPrompt="1"/>
          </p:nvPr>
        </p:nvSpPr>
        <p:spPr>
          <a:xfrm>
            <a:off x="2457447" y="1657351"/>
            <a:ext cx="1019177" cy="276222"/>
          </a:xfrm>
          <a:prstGeom prst="rect">
            <a:avLst/>
          </a:prstGeom>
        </p:spPr>
        <p:txBody>
          <a:bodyPr lIns="18000" tIns="18000" rIns="18000" bIns="18000"/>
          <a:lstStyle>
            <a:lvl1pPr>
              <a:lnSpc>
                <a:spcPct val="100000"/>
              </a:lnSpc>
              <a:spcAft>
                <a:spcPts val="0"/>
              </a:spcAft>
              <a:defRPr sz="1000"/>
            </a:lvl1pPr>
          </a:lstStyle>
          <a:p>
            <a:pPr lvl="0"/>
            <a:r>
              <a:rPr lang="tr-TR" noProof="0" dirty="0" smtClean="0"/>
              <a:t>Üniversiteniz</a:t>
            </a:r>
            <a:endParaRPr lang="en-US" noProof="0" dirty="0"/>
          </a:p>
        </p:txBody>
      </p:sp>
      <p:sp>
        <p:nvSpPr>
          <p:cNvPr id="96" name="Textplatzhalter 29"/>
          <p:cNvSpPr>
            <a:spLocks noGrp="1"/>
          </p:cNvSpPr>
          <p:nvPr>
            <p:ph type="body" sz="quarter" idx="24" hasCustomPrompt="1"/>
          </p:nvPr>
        </p:nvSpPr>
        <p:spPr>
          <a:xfrm>
            <a:off x="3543299" y="1685925"/>
            <a:ext cx="1495425" cy="247648"/>
          </a:xfrm>
          <a:prstGeom prst="rect">
            <a:avLst/>
          </a:prstGeom>
        </p:spPr>
        <p:txBody>
          <a:bodyPr lIns="18000" tIns="18000" rIns="18000" bIns="18000"/>
          <a:lstStyle>
            <a:lvl1pPr>
              <a:lnSpc>
                <a:spcPct val="100000"/>
              </a:lnSpc>
              <a:spcAft>
                <a:spcPts val="0"/>
              </a:spcAft>
              <a:defRPr sz="1000"/>
            </a:lvl1pPr>
          </a:lstStyle>
          <a:p>
            <a:pPr lvl="0"/>
            <a:r>
              <a:rPr lang="tr-TR" noProof="0" dirty="0" smtClean="0"/>
              <a:t>Bölümünüz</a:t>
            </a:r>
            <a:endParaRPr lang="en-US" noProof="0" dirty="0"/>
          </a:p>
        </p:txBody>
      </p:sp>
      <p:sp>
        <p:nvSpPr>
          <p:cNvPr id="99" name="Textplatzhalter 29"/>
          <p:cNvSpPr>
            <a:spLocks noGrp="1"/>
          </p:cNvSpPr>
          <p:nvPr>
            <p:ph type="body" sz="quarter" idx="27" hasCustomPrompt="1"/>
          </p:nvPr>
        </p:nvSpPr>
        <p:spPr>
          <a:xfrm>
            <a:off x="1323974" y="2019300"/>
            <a:ext cx="1000126" cy="246515"/>
          </a:xfrm>
          <a:prstGeom prst="rect">
            <a:avLst/>
          </a:prstGeom>
        </p:spPr>
        <p:txBody>
          <a:bodyPr lIns="18000" tIns="18000" rIns="18000" bIns="18000"/>
          <a:lstStyle>
            <a:lvl1pPr>
              <a:lnSpc>
                <a:spcPct val="100000"/>
              </a:lnSpc>
              <a:spcAft>
                <a:spcPts val="0"/>
              </a:spcAft>
              <a:defRPr sz="1000" baseline="0"/>
            </a:lvl1pPr>
          </a:lstStyle>
          <a:p>
            <a:pPr lvl="0"/>
            <a:r>
              <a:rPr lang="tr-TR" noProof="0" dirty="0" smtClean="0"/>
              <a:t>E-mail adresiniz</a:t>
            </a:r>
            <a:endParaRPr lang="en-US" noProof="0" dirty="0"/>
          </a:p>
        </p:txBody>
      </p:sp>
      <p:sp>
        <p:nvSpPr>
          <p:cNvPr id="100" name="Textplatzhalter 29"/>
          <p:cNvSpPr>
            <a:spLocks noGrp="1"/>
          </p:cNvSpPr>
          <p:nvPr>
            <p:ph type="body" sz="quarter" idx="28" hasCustomPrompt="1"/>
          </p:nvPr>
        </p:nvSpPr>
        <p:spPr>
          <a:xfrm>
            <a:off x="2457447" y="2019300"/>
            <a:ext cx="1019177" cy="246515"/>
          </a:xfrm>
          <a:prstGeom prst="rect">
            <a:avLst/>
          </a:prstGeom>
        </p:spPr>
        <p:txBody>
          <a:bodyPr lIns="18000" tIns="18000" rIns="18000" bIns="18000"/>
          <a:lstStyle>
            <a:lvl1pPr>
              <a:lnSpc>
                <a:spcPct val="100000"/>
              </a:lnSpc>
              <a:spcAft>
                <a:spcPts val="0"/>
              </a:spcAft>
              <a:defRPr sz="1000"/>
            </a:lvl1pPr>
          </a:lstStyle>
          <a:p>
            <a:pPr lvl="0"/>
            <a:r>
              <a:rPr lang="tr-TR" noProof="0" dirty="0" smtClean="0"/>
              <a:t>Üniversiteniz</a:t>
            </a:r>
            <a:endParaRPr lang="en-US" noProof="0" dirty="0"/>
          </a:p>
        </p:txBody>
      </p:sp>
      <p:sp>
        <p:nvSpPr>
          <p:cNvPr id="101" name="Textplatzhalter 29"/>
          <p:cNvSpPr>
            <a:spLocks noGrp="1"/>
          </p:cNvSpPr>
          <p:nvPr>
            <p:ph type="body" sz="quarter" idx="29" hasCustomPrompt="1"/>
          </p:nvPr>
        </p:nvSpPr>
        <p:spPr>
          <a:xfrm>
            <a:off x="3543299" y="2019300"/>
            <a:ext cx="1495425" cy="246515"/>
          </a:xfrm>
          <a:prstGeom prst="rect">
            <a:avLst/>
          </a:prstGeom>
        </p:spPr>
        <p:txBody>
          <a:bodyPr lIns="18000" tIns="18000" rIns="18000" bIns="18000"/>
          <a:lstStyle>
            <a:lvl1pPr>
              <a:lnSpc>
                <a:spcPct val="100000"/>
              </a:lnSpc>
              <a:spcAft>
                <a:spcPts val="0"/>
              </a:spcAft>
              <a:defRPr sz="1000"/>
            </a:lvl1pPr>
          </a:lstStyle>
          <a:p>
            <a:pPr lvl="0"/>
            <a:r>
              <a:rPr lang="tr-TR" noProof="0" dirty="0" smtClean="0"/>
              <a:t>Bölümünüz</a:t>
            </a:r>
            <a:endParaRPr lang="en-US" noProof="0" dirty="0"/>
          </a:p>
        </p:txBody>
      </p:sp>
      <p:sp>
        <p:nvSpPr>
          <p:cNvPr id="34" name="Textplatzhalter 29"/>
          <p:cNvSpPr>
            <a:spLocks noGrp="1"/>
          </p:cNvSpPr>
          <p:nvPr>
            <p:ph type="body" sz="quarter" idx="36" hasCustomPrompt="1"/>
            <p:custDataLst>
              <p:custData r:id="rId3"/>
            </p:custDataLst>
          </p:nvPr>
        </p:nvSpPr>
        <p:spPr>
          <a:xfrm>
            <a:off x="2820675" y="4672011"/>
            <a:ext cx="3065775" cy="1594458"/>
          </a:xfrm>
          <a:prstGeom prst="rect">
            <a:avLst/>
          </a:prstGeom>
        </p:spPr>
        <p:txBody>
          <a:bodyPr lIns="18000" tIns="18000" rIns="18000" bIns="1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100" baseline="0"/>
            </a:lvl1pPr>
          </a:lstStyle>
          <a:p>
            <a:pPr lvl="0"/>
            <a:r>
              <a:rPr lang="tr-TR" noProof="0" dirty="0" smtClean="0"/>
              <a:t>Yaklaşım sağladığınız fikir veya çözüm yolunuz nedir?</a:t>
            </a:r>
          </a:p>
        </p:txBody>
      </p:sp>
      <p:sp>
        <p:nvSpPr>
          <p:cNvPr id="35" name="Textplatzhalter 29"/>
          <p:cNvSpPr>
            <a:spLocks noGrp="1"/>
          </p:cNvSpPr>
          <p:nvPr>
            <p:ph type="body" sz="quarter" idx="37" hasCustomPrompt="1"/>
          </p:nvPr>
        </p:nvSpPr>
        <p:spPr>
          <a:xfrm>
            <a:off x="6000749" y="4846266"/>
            <a:ext cx="2943226" cy="1420203"/>
          </a:xfrm>
          <a:prstGeom prst="rect">
            <a:avLst/>
          </a:prstGeom>
        </p:spPr>
        <p:txBody>
          <a:bodyPr lIns="18000" tIns="18000" rIns="18000" bIns="1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100" baseline="0"/>
            </a:lvl1pPr>
          </a:lstStyle>
          <a:p>
            <a:pPr lvl="0"/>
            <a:r>
              <a:rPr lang="tr-TR" noProof="0" dirty="0" smtClean="0"/>
              <a:t>Bu çözüm veya fırsatın lojistik sektörü ile bağlantısı nedir?</a:t>
            </a:r>
          </a:p>
          <a:p>
            <a:pPr lvl="0"/>
            <a:endParaRPr lang="tr-TR" noProof="0" dirty="0" smtClean="0"/>
          </a:p>
        </p:txBody>
      </p:sp>
      <p:sp>
        <p:nvSpPr>
          <p:cNvPr id="36" name="Textplatzhalter 29"/>
          <p:cNvSpPr>
            <a:spLocks noGrp="1"/>
          </p:cNvSpPr>
          <p:nvPr>
            <p:ph type="body" sz="quarter" idx="38" hasCustomPrompt="1"/>
          </p:nvPr>
        </p:nvSpPr>
        <p:spPr>
          <a:xfrm>
            <a:off x="214651" y="4667247"/>
            <a:ext cx="2499974" cy="1600201"/>
          </a:xfrm>
          <a:prstGeom prst="rect">
            <a:avLst/>
          </a:prstGeom>
        </p:spPr>
        <p:txBody>
          <a:bodyPr lIns="18000" tIns="18000" rIns="18000" bIns="1800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100" baseline="0"/>
            </a:lvl1pPr>
          </a:lstStyle>
          <a:p>
            <a:pPr lvl="0"/>
            <a:r>
              <a:rPr lang="tr-TR" sz="1100" dirty="0" smtClean="0">
                <a:latin typeface="Arial" panose="020B0604020202020204" pitchFamily="34" charset="0"/>
                <a:cs typeface="Arial" panose="020B0604020202020204" pitchFamily="34" charset="0"/>
              </a:rPr>
              <a:t>Gördüğünüz problem/fırsat tam olarak nedir?</a:t>
            </a:r>
            <a:endParaRPr lang="en-US" sz="1100" dirty="0" smtClean="0">
              <a:latin typeface="Arial" panose="020B0604020202020204" pitchFamily="34" charset="0"/>
              <a:cs typeface="Arial" panose="020B0604020202020204" pitchFamily="34" charset="0"/>
            </a:endParaRPr>
          </a:p>
        </p:txBody>
      </p:sp>
      <p:sp>
        <p:nvSpPr>
          <p:cNvPr id="29" name="Textplatzhalter 29"/>
          <p:cNvSpPr>
            <a:spLocks noGrp="1"/>
          </p:cNvSpPr>
          <p:nvPr>
            <p:ph type="body" sz="quarter" idx="46" hasCustomPrompt="1"/>
          </p:nvPr>
        </p:nvSpPr>
        <p:spPr>
          <a:xfrm>
            <a:off x="600074" y="1362076"/>
            <a:ext cx="609601" cy="171449"/>
          </a:xfrm>
          <a:prstGeom prst="rect">
            <a:avLst/>
          </a:prstGeom>
        </p:spPr>
        <p:txBody>
          <a:bodyPr lIns="18000" tIns="18000" rIns="18000" bIns="18000"/>
          <a:lstStyle>
            <a:lvl1pPr>
              <a:lnSpc>
                <a:spcPct val="100000"/>
              </a:lnSpc>
              <a:spcAft>
                <a:spcPts val="0"/>
              </a:spcAft>
              <a:defRPr sz="1000" baseline="0"/>
            </a:lvl1pPr>
          </a:lstStyle>
          <a:p>
            <a:pPr lvl="0"/>
            <a:r>
              <a:rPr lang="tr-TR" noProof="0" dirty="0" smtClean="0"/>
              <a:t>İsiminiz</a:t>
            </a:r>
            <a:endParaRPr lang="en-US" noProof="0" dirty="0"/>
          </a:p>
        </p:txBody>
      </p:sp>
      <p:sp>
        <p:nvSpPr>
          <p:cNvPr id="32" name="Textplatzhalter 29"/>
          <p:cNvSpPr>
            <a:spLocks noGrp="1"/>
          </p:cNvSpPr>
          <p:nvPr>
            <p:ph type="body" sz="quarter" idx="48" hasCustomPrompt="1"/>
          </p:nvPr>
        </p:nvSpPr>
        <p:spPr>
          <a:xfrm>
            <a:off x="600074" y="2019299"/>
            <a:ext cx="609601" cy="171451"/>
          </a:xfrm>
          <a:prstGeom prst="rect">
            <a:avLst/>
          </a:prstGeom>
        </p:spPr>
        <p:txBody>
          <a:bodyPr lIns="18000" tIns="18000" rIns="18000" bIns="18000"/>
          <a:lstStyle>
            <a:lvl1pPr>
              <a:lnSpc>
                <a:spcPct val="100000"/>
              </a:lnSpc>
              <a:spcAft>
                <a:spcPts val="0"/>
              </a:spcAft>
              <a:defRPr sz="1000" baseline="0"/>
            </a:lvl1pPr>
          </a:lstStyle>
          <a:p>
            <a:pPr lvl="0"/>
            <a:r>
              <a:rPr lang="tr-TR" noProof="0" dirty="0" smtClean="0"/>
              <a:t>İsiminiz</a:t>
            </a:r>
            <a:endParaRPr lang="en-US" noProof="0" dirty="0"/>
          </a:p>
        </p:txBody>
      </p:sp>
      <p:sp>
        <p:nvSpPr>
          <p:cNvPr id="33" name="Textplatzhalter 29"/>
          <p:cNvSpPr>
            <a:spLocks noGrp="1"/>
          </p:cNvSpPr>
          <p:nvPr>
            <p:ph type="body" sz="quarter" idx="49" hasCustomPrompt="1"/>
          </p:nvPr>
        </p:nvSpPr>
        <p:spPr>
          <a:xfrm>
            <a:off x="5981700" y="2714622"/>
            <a:ext cx="2962275" cy="1571627"/>
          </a:xfrm>
          <a:prstGeom prst="rect">
            <a:avLst/>
          </a:prstGeom>
        </p:spPr>
        <p:txBody>
          <a:bodyPr lIns="18000" tIns="18000" rIns="18000" bIns="18000"/>
          <a:lstStyle>
            <a:lvl1pPr marL="0" marR="0" indent="0" algn="l" defTabSz="995363" rtl="0" eaLnBrk="0" fontAlgn="base" latinLnBrk="0" hangingPunct="0">
              <a:lnSpc>
                <a:spcPct val="100000"/>
              </a:lnSpc>
              <a:spcBef>
                <a:spcPct val="0"/>
              </a:spcBef>
              <a:spcAft>
                <a:spcPct val="0"/>
              </a:spcAft>
              <a:buClrTx/>
              <a:buSzTx/>
              <a:buFont typeface="Arial" panose="020B0604020202020204" pitchFamily="34" charset="0"/>
              <a:buNone/>
              <a:tabLst/>
              <a:defRPr kumimoji="0" lang="en-US" sz="1100" b="0" i="0" u="none" strike="noStrike" kern="1200" cap="none" spc="0" normalizeH="0" baseline="0" noProof="0" dirty="0">
                <a:ln>
                  <a:noFill/>
                </a:ln>
                <a:solidFill>
                  <a:schemeClr val="tx1"/>
                </a:solidFill>
                <a:effectLst/>
                <a:uLnTx/>
                <a:uFillTx/>
                <a:latin typeface="+mn-lt"/>
                <a:ea typeface="+mn-ea"/>
                <a:cs typeface="+mn-cs"/>
              </a:defRPr>
            </a:lvl1pPr>
          </a:lstStyle>
          <a:p>
            <a:pPr lvl="0"/>
            <a:r>
              <a:rPr lang="tr-TR" noProof="0" dirty="0" smtClean="0"/>
              <a:t>Belirtilen proje alanlarından projenize uygun olduğunu düşündüğünüz alanı yandaki sayılardan seçerek belirtiniz.</a:t>
            </a:r>
            <a:endParaRPr lang="en-US" noProof="0" dirty="0" smtClean="0"/>
          </a:p>
        </p:txBody>
      </p:sp>
      <p:sp>
        <p:nvSpPr>
          <p:cNvPr id="38" name="Textplatzhalter 29"/>
          <p:cNvSpPr>
            <a:spLocks noGrp="1"/>
          </p:cNvSpPr>
          <p:nvPr>
            <p:ph type="body" sz="quarter" idx="50" hasCustomPrompt="1"/>
          </p:nvPr>
        </p:nvSpPr>
        <p:spPr>
          <a:xfrm>
            <a:off x="600074" y="1685924"/>
            <a:ext cx="609601" cy="193345"/>
          </a:xfrm>
          <a:prstGeom prst="rect">
            <a:avLst/>
          </a:prstGeom>
        </p:spPr>
        <p:txBody>
          <a:bodyPr lIns="18000" tIns="18000" rIns="18000" bIns="18000"/>
          <a:lstStyle>
            <a:lvl1pPr>
              <a:lnSpc>
                <a:spcPct val="100000"/>
              </a:lnSpc>
              <a:spcAft>
                <a:spcPts val="0"/>
              </a:spcAft>
              <a:defRPr sz="1000" baseline="0"/>
            </a:lvl1pPr>
          </a:lstStyle>
          <a:p>
            <a:pPr lvl="0"/>
            <a:r>
              <a:rPr lang="tr-TR" noProof="0" dirty="0" smtClean="0"/>
              <a:t>İsiminiz</a:t>
            </a:r>
            <a:endParaRPr lang="en-US" noProof="0" dirty="0"/>
          </a:p>
        </p:txBody>
      </p:sp>
      <p:sp>
        <p:nvSpPr>
          <p:cNvPr id="28" name="Textplatzhalter 29"/>
          <p:cNvSpPr>
            <a:spLocks noGrp="1"/>
          </p:cNvSpPr>
          <p:nvPr>
            <p:ph type="body" sz="quarter" idx="51" hasCustomPrompt="1"/>
          </p:nvPr>
        </p:nvSpPr>
        <p:spPr>
          <a:xfrm>
            <a:off x="6819899" y="1685925"/>
            <a:ext cx="1990725" cy="247648"/>
          </a:xfrm>
          <a:prstGeom prst="rect">
            <a:avLst/>
          </a:prstGeom>
        </p:spPr>
        <p:txBody>
          <a:bodyPr lIns="18000" tIns="18000" rIns="18000" bIns="18000"/>
          <a:lstStyle>
            <a:lvl1pPr>
              <a:lnSpc>
                <a:spcPct val="100000"/>
              </a:lnSpc>
              <a:spcAft>
                <a:spcPts val="0"/>
              </a:spcAft>
              <a:defRPr sz="1000" baseline="0"/>
            </a:lvl1pPr>
          </a:lstStyle>
          <a:p>
            <a:pPr lvl="0"/>
            <a:r>
              <a:rPr lang="tr-TR" noProof="0" dirty="0" smtClean="0"/>
              <a:t>Görev Tanımı</a:t>
            </a:r>
            <a:endParaRPr lang="en-US" noProof="0" dirty="0"/>
          </a:p>
        </p:txBody>
      </p:sp>
      <p:sp>
        <p:nvSpPr>
          <p:cNvPr id="31" name="Textplatzhalter 29"/>
          <p:cNvSpPr>
            <a:spLocks noGrp="1"/>
          </p:cNvSpPr>
          <p:nvPr>
            <p:ph type="body" sz="quarter" idx="52" hasCustomPrompt="1"/>
          </p:nvPr>
        </p:nvSpPr>
        <p:spPr>
          <a:xfrm>
            <a:off x="6838949" y="1333500"/>
            <a:ext cx="1990725" cy="247648"/>
          </a:xfrm>
          <a:prstGeom prst="rect">
            <a:avLst/>
          </a:prstGeom>
        </p:spPr>
        <p:txBody>
          <a:bodyPr lIns="18000" tIns="18000" rIns="18000" bIns="18000"/>
          <a:lstStyle>
            <a:lvl1pPr>
              <a:lnSpc>
                <a:spcPct val="100000"/>
              </a:lnSpc>
              <a:spcAft>
                <a:spcPts val="0"/>
              </a:spcAft>
              <a:defRPr sz="1000" baseline="0"/>
            </a:lvl1pPr>
          </a:lstStyle>
          <a:p>
            <a:pPr lvl="0"/>
            <a:r>
              <a:rPr lang="tr-TR" noProof="0" dirty="0" smtClean="0"/>
              <a:t>Görev Tanımı</a:t>
            </a:r>
            <a:endParaRPr lang="en-US" noProof="0" dirty="0"/>
          </a:p>
        </p:txBody>
      </p:sp>
      <p:sp>
        <p:nvSpPr>
          <p:cNvPr id="37" name="Textplatzhalter 29"/>
          <p:cNvSpPr>
            <a:spLocks noGrp="1"/>
          </p:cNvSpPr>
          <p:nvPr>
            <p:ph type="body" sz="quarter" idx="53" hasCustomPrompt="1"/>
          </p:nvPr>
        </p:nvSpPr>
        <p:spPr>
          <a:xfrm>
            <a:off x="6819899" y="2019300"/>
            <a:ext cx="1990725" cy="247648"/>
          </a:xfrm>
          <a:prstGeom prst="rect">
            <a:avLst/>
          </a:prstGeom>
        </p:spPr>
        <p:txBody>
          <a:bodyPr lIns="18000" tIns="18000" rIns="18000" bIns="18000"/>
          <a:lstStyle>
            <a:lvl1pPr>
              <a:lnSpc>
                <a:spcPct val="100000"/>
              </a:lnSpc>
              <a:spcAft>
                <a:spcPts val="0"/>
              </a:spcAft>
              <a:defRPr sz="1000" baseline="0"/>
            </a:lvl1pPr>
          </a:lstStyle>
          <a:p>
            <a:pPr lvl="0"/>
            <a:r>
              <a:rPr lang="tr-TR" noProof="0" dirty="0" smtClean="0"/>
              <a:t>Görev Tanımı</a:t>
            </a:r>
            <a:endParaRPr lang="en-US" noProof="0" dirty="0"/>
          </a:p>
        </p:txBody>
      </p:sp>
      <p:sp>
        <p:nvSpPr>
          <p:cNvPr id="39" name="Textplatzhalter 29"/>
          <p:cNvSpPr>
            <a:spLocks noGrp="1"/>
          </p:cNvSpPr>
          <p:nvPr>
            <p:ph type="body" sz="quarter" idx="54" hasCustomPrompt="1"/>
          </p:nvPr>
        </p:nvSpPr>
        <p:spPr>
          <a:xfrm>
            <a:off x="1323974" y="1685925"/>
            <a:ext cx="1038226" cy="246515"/>
          </a:xfrm>
          <a:prstGeom prst="rect">
            <a:avLst/>
          </a:prstGeom>
        </p:spPr>
        <p:txBody>
          <a:bodyPr lIns="18000" tIns="18000" rIns="18000" bIns="18000"/>
          <a:lstStyle>
            <a:lvl1pPr>
              <a:lnSpc>
                <a:spcPct val="100000"/>
              </a:lnSpc>
              <a:spcAft>
                <a:spcPts val="0"/>
              </a:spcAft>
              <a:defRPr sz="1000" baseline="0"/>
            </a:lvl1pPr>
          </a:lstStyle>
          <a:p>
            <a:pPr lvl="0"/>
            <a:r>
              <a:rPr lang="tr-TR" noProof="0" dirty="0" smtClean="0"/>
              <a:t>E-mail adresiniz</a:t>
            </a:r>
            <a:endParaRPr lang="en-US" noProof="0" dirty="0"/>
          </a:p>
        </p:txBody>
      </p:sp>
      <p:sp>
        <p:nvSpPr>
          <p:cNvPr id="40" name="Textplatzhalter 29"/>
          <p:cNvSpPr>
            <a:spLocks noGrp="1"/>
          </p:cNvSpPr>
          <p:nvPr>
            <p:ph type="body" sz="quarter" idx="55" hasCustomPrompt="1"/>
          </p:nvPr>
        </p:nvSpPr>
        <p:spPr>
          <a:xfrm>
            <a:off x="1323974" y="1333500"/>
            <a:ext cx="1038226" cy="246515"/>
          </a:xfrm>
          <a:prstGeom prst="rect">
            <a:avLst/>
          </a:prstGeom>
        </p:spPr>
        <p:txBody>
          <a:bodyPr lIns="18000" tIns="18000" rIns="18000" bIns="18000"/>
          <a:lstStyle>
            <a:lvl1pPr>
              <a:lnSpc>
                <a:spcPct val="100000"/>
              </a:lnSpc>
              <a:spcAft>
                <a:spcPts val="0"/>
              </a:spcAft>
              <a:defRPr sz="1000" baseline="0"/>
            </a:lvl1pPr>
          </a:lstStyle>
          <a:p>
            <a:pPr lvl="0"/>
            <a:r>
              <a:rPr lang="tr-TR" noProof="0" dirty="0" smtClean="0"/>
              <a:t>E-mail adresiniz</a:t>
            </a:r>
            <a:endParaRPr lang="en-US" noProof="0" dirty="0"/>
          </a:p>
        </p:txBody>
      </p:sp>
      <p:sp>
        <p:nvSpPr>
          <p:cNvPr id="41" name="Textplatzhalter 29"/>
          <p:cNvSpPr>
            <a:spLocks noGrp="1"/>
          </p:cNvSpPr>
          <p:nvPr>
            <p:ph type="body" sz="quarter" idx="56" hasCustomPrompt="1"/>
          </p:nvPr>
        </p:nvSpPr>
        <p:spPr>
          <a:xfrm>
            <a:off x="1323974" y="991733"/>
            <a:ext cx="1038226" cy="246515"/>
          </a:xfrm>
          <a:prstGeom prst="rect">
            <a:avLst/>
          </a:prstGeom>
        </p:spPr>
        <p:txBody>
          <a:bodyPr lIns="18000" tIns="18000" rIns="18000" bIns="18000"/>
          <a:lstStyle>
            <a:lvl1pPr>
              <a:lnSpc>
                <a:spcPct val="100000"/>
              </a:lnSpc>
              <a:spcAft>
                <a:spcPts val="0"/>
              </a:spcAft>
              <a:defRPr sz="1000" baseline="0"/>
            </a:lvl1pPr>
          </a:lstStyle>
          <a:p>
            <a:pPr lvl="0"/>
            <a:r>
              <a:rPr lang="tr-TR" noProof="0" dirty="0" smtClean="0"/>
              <a:t>E-mail adresiniz</a:t>
            </a:r>
            <a:endParaRPr lang="en-US" noProof="0" dirty="0"/>
          </a:p>
        </p:txBody>
      </p:sp>
      <p:sp>
        <p:nvSpPr>
          <p:cNvPr id="60" name="Textplatzhalter 29"/>
          <p:cNvSpPr>
            <a:spLocks noGrp="1"/>
          </p:cNvSpPr>
          <p:nvPr>
            <p:ph type="body" sz="quarter" idx="57" hasCustomPrompt="1"/>
          </p:nvPr>
        </p:nvSpPr>
        <p:spPr>
          <a:xfrm>
            <a:off x="5191124" y="2025130"/>
            <a:ext cx="1495425" cy="246515"/>
          </a:xfrm>
          <a:prstGeom prst="rect">
            <a:avLst/>
          </a:prstGeom>
        </p:spPr>
        <p:txBody>
          <a:bodyPr lIns="18000" tIns="18000" rIns="18000" bIns="18000"/>
          <a:lstStyle>
            <a:lvl1pPr>
              <a:lnSpc>
                <a:spcPct val="100000"/>
              </a:lnSpc>
              <a:spcAft>
                <a:spcPts val="0"/>
              </a:spcAft>
              <a:defRPr sz="1000" baseline="0"/>
            </a:lvl1pPr>
          </a:lstStyle>
          <a:p>
            <a:pPr lvl="0"/>
            <a:r>
              <a:rPr lang="tr-TR" noProof="0" dirty="0" smtClean="0"/>
              <a:t>Cep Telefonunuz</a:t>
            </a:r>
            <a:endParaRPr lang="en-US" noProof="0" dirty="0"/>
          </a:p>
        </p:txBody>
      </p:sp>
      <p:sp>
        <p:nvSpPr>
          <p:cNvPr id="42" name="Textplatzhalter 29"/>
          <p:cNvSpPr>
            <a:spLocks noGrp="1"/>
          </p:cNvSpPr>
          <p:nvPr>
            <p:ph type="body" sz="quarter" idx="58" hasCustomPrompt="1"/>
          </p:nvPr>
        </p:nvSpPr>
        <p:spPr>
          <a:xfrm>
            <a:off x="6444208" y="188640"/>
            <a:ext cx="2520280" cy="216024"/>
          </a:xfrm>
          <a:prstGeom prst="rect">
            <a:avLst/>
          </a:prstGeom>
        </p:spPr>
        <p:txBody>
          <a:bodyPr lIns="18000" tIns="18000" rIns="18000" bIns="18000"/>
          <a:lstStyle>
            <a:lvl1pPr>
              <a:defRPr sz="1100" baseline="0"/>
            </a:lvl1pPr>
          </a:lstStyle>
          <a:p>
            <a:pPr lvl="0"/>
            <a:r>
              <a:rPr lang="tr-TR" noProof="0" dirty="0" smtClean="0"/>
              <a:t>Danışman Öğretim Görevlisi</a:t>
            </a:r>
            <a:endParaRPr lang="en-US" noProof="0" dirty="0"/>
          </a:p>
        </p:txBody>
      </p:sp>
    </p:spTree>
    <p:extLst>
      <p:ext uri="{BB962C8B-B14F-4D97-AF65-F5344CB8AC3E}">
        <p14:creationId xmlns:p14="http://schemas.microsoft.com/office/powerpoint/2010/main" val="41467215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6.png"/><Relationship Id="rId3" Type="http://schemas.openxmlformats.org/officeDocument/2006/relationships/vmlDrawing" Target="../drawings/vmlDrawing1.vml"/><Relationship Id="rId7" Type="http://schemas.openxmlformats.org/officeDocument/2006/relationships/image" Target="../media/image2.jpeg"/><Relationship Id="rId12" Type="http://schemas.openxmlformats.org/officeDocument/2006/relationships/hyperlink" Target="https://www.google.de/url?sa=i&amp;rct=j&amp;q=&amp;esrc=s&amp;source=images&amp;cd=&amp;cad=rja&amp;uact=8&amp;ved=0ahUKEwiQ4ZmSy77YAhUC2KQKHTgUDA8QjRwIBw&amp;url=https://thenounproject.com/term/issues/117746/&amp;psig=AOvVaw0LWCBK15hqXtLOi2RgpZae&amp;ust=1515164865671582" TargetMode="Externa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1.emf"/><Relationship Id="rId11" Type="http://schemas.openxmlformats.org/officeDocument/2006/relationships/image" Target="../media/image5.png"/><Relationship Id="rId5" Type="http://schemas.openxmlformats.org/officeDocument/2006/relationships/oleObject" Target="../embeddings/oleObject1.bin"/><Relationship Id="rId15" Type="http://schemas.openxmlformats.org/officeDocument/2006/relationships/image" Target="../media/image7.png"/><Relationship Id="rId10" Type="http://schemas.microsoft.com/office/2007/relationships/hdphoto" Target="../media/hdphoto1.wdp"/><Relationship Id="rId4" Type="http://schemas.openxmlformats.org/officeDocument/2006/relationships/tags" Target="../tags/tag1.xml"/><Relationship Id="rId9" Type="http://schemas.openxmlformats.org/officeDocument/2006/relationships/image" Target="../media/image4.png"/><Relationship Id="rId14" Type="http://schemas.openxmlformats.org/officeDocument/2006/relationships/hyperlink" Target="https://www.google.de/url?sa=i&amp;rct=j&amp;q=&amp;esrc=s&amp;source=images&amp;cd=&amp;cad=rja&amp;uact=8&amp;ved=0ahUKEwj1jqjbvM_YAhXJLFAKHd4GCpkQjRwIBw&amp;url=https://e-learning-demo.universum.com/course/view.php?id%3D2%26lang%3Den&amp;psig=AOvVaw3twh9ji8ZQUmfI9pqDKQ_a&amp;ust=1515745072123864"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tr-T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E634BE-32FF-45D4-BAAB-141722E5F0B9}" type="datetimeFigureOut">
              <a:rPr lang="tr-TR" smtClean="0"/>
              <a:t>5.03.2019</a:t>
            </a:fld>
            <a:endParaRPr lang="tr-T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10F947-4B7F-4840-AFC3-D85C59FD6B1C}" type="slidenum">
              <a:rPr lang="tr-TR" smtClean="0"/>
              <a:t>‹#›</a:t>
            </a:fld>
            <a:endParaRPr lang="tr-TR"/>
          </a:p>
        </p:txBody>
      </p:sp>
    </p:spTree>
    <p:extLst>
      <p:ext uri="{BB962C8B-B14F-4D97-AF65-F5344CB8AC3E}">
        <p14:creationId xmlns:p14="http://schemas.microsoft.com/office/powerpoint/2010/main" val="168309856"/>
      </p:ext>
    </p:extLst>
  </p:cSld>
  <p:clrMap bg1="lt1" tx1="dk1" bg2="lt2" tx2="dk2" accent1="accent1" accent2="accent2" accent3="accent3" accent4="accent4" accent5="accent5" accent6="accent6" hlink="hlink" folHlink="folHlink"/>
  <p:sldLayoutIdLst>
    <p:sldLayoutId id="2147483650"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93" name="Rechteck 98"/>
          <p:cNvSpPr/>
          <p:nvPr userDrawn="1"/>
        </p:nvSpPr>
        <p:spPr bwMode="auto">
          <a:xfrm>
            <a:off x="363151" y="3073418"/>
            <a:ext cx="759253" cy="166447"/>
          </a:xfrm>
          <a:prstGeom prst="rect">
            <a:avLst/>
          </a:prstGeom>
          <a:solidFill>
            <a:srgbClr val="FFFFFF">
              <a:alpha val="83137"/>
            </a:srgbClr>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a:solidFill>
                <a:srgbClr val="000000"/>
              </a:solidFill>
            </a:endParaRPr>
          </a:p>
        </p:txBody>
      </p:sp>
      <p:graphicFrame>
        <p:nvGraphicFramePr>
          <p:cNvPr id="32" name="Objekt 31" hidden="1"/>
          <p:cNvGraphicFramePr>
            <a:graphicFrameLocks noChangeAspect="1"/>
          </p:cNvGraphicFramePr>
          <p:nvPr>
            <p:custDataLst>
              <p:tags r:id="rId4"/>
            </p:custDataLst>
            <p:extLst>
              <p:ext uri="{D42A27DB-BD31-4B8C-83A1-F6EECF244321}">
                <p14:modId xmlns:p14="http://schemas.microsoft.com/office/powerpoint/2010/main" val="36097826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0" name="think-cell Folie" r:id="rId5" imgW="270" imgH="270" progId="TCLayout.ActiveDocument.1">
                  <p:embed/>
                </p:oleObj>
              </mc:Choice>
              <mc:Fallback>
                <p:oleObj name="think-cell Foli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5" name="dpic_guideLines" hidden="1"/>
          <p:cNvGrpSpPr/>
          <p:nvPr/>
        </p:nvGrpSpPr>
        <p:grpSpPr>
          <a:xfrm>
            <a:off x="-11112" y="0"/>
            <a:ext cx="9145587" cy="6858000"/>
            <a:chOff x="-1587" y="0"/>
            <a:chExt cx="9145587" cy="6858000"/>
          </a:xfrm>
        </p:grpSpPr>
        <p:cxnSp>
          <p:nvCxnSpPr>
            <p:cNvPr id="26" name="Straight Connector 56" hidden="1"/>
            <p:cNvCxnSpPr/>
            <p:nvPr/>
          </p:nvCxnSpPr>
          <p:spPr bwMode="gray">
            <a:xfrm>
              <a:off x="188129" y="0"/>
              <a:ext cx="0" cy="685800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27" name="Straight Connector 53" hidden="1"/>
            <p:cNvCxnSpPr/>
            <p:nvPr/>
          </p:nvCxnSpPr>
          <p:spPr bwMode="gray">
            <a:xfrm>
              <a:off x="8971143" y="0"/>
              <a:ext cx="0" cy="685800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29" name="Straight Connector 43" hidden="1"/>
            <p:cNvCxnSpPr/>
            <p:nvPr/>
          </p:nvCxnSpPr>
          <p:spPr bwMode="gray">
            <a:xfrm>
              <a:off x="4687357" y="0"/>
              <a:ext cx="0" cy="685800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35" name="Straight Connector 44" hidden="1"/>
            <p:cNvCxnSpPr/>
            <p:nvPr/>
          </p:nvCxnSpPr>
          <p:spPr bwMode="gray">
            <a:xfrm>
              <a:off x="4471143" y="0"/>
              <a:ext cx="0" cy="685800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36" name="Straight Connector 45" hidden="1"/>
            <p:cNvCxnSpPr/>
            <p:nvPr/>
          </p:nvCxnSpPr>
          <p:spPr bwMode="gray">
            <a:xfrm flipH="1">
              <a:off x="-1587" y="6670676"/>
              <a:ext cx="9144000" cy="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38" name="Straight Connector 46" hidden="1"/>
            <p:cNvCxnSpPr/>
            <p:nvPr/>
          </p:nvCxnSpPr>
          <p:spPr bwMode="gray">
            <a:xfrm flipH="1">
              <a:off x="-1587" y="6447632"/>
              <a:ext cx="9144000" cy="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39" name="Straight Connector 47" hidden="1"/>
            <p:cNvCxnSpPr/>
            <p:nvPr/>
          </p:nvCxnSpPr>
          <p:spPr bwMode="gray">
            <a:xfrm flipH="1">
              <a:off x="-1587" y="6004800"/>
              <a:ext cx="9144000" cy="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42" name="Straight Connector 48" hidden="1"/>
            <p:cNvCxnSpPr/>
            <p:nvPr/>
          </p:nvCxnSpPr>
          <p:spPr bwMode="gray">
            <a:xfrm flipH="1">
              <a:off x="0" y="1252874"/>
              <a:ext cx="9144000" cy="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43" name="Straight Connector 50" hidden="1"/>
            <p:cNvCxnSpPr/>
            <p:nvPr/>
          </p:nvCxnSpPr>
          <p:spPr bwMode="gray">
            <a:xfrm flipH="1">
              <a:off x="-1587" y="849600"/>
              <a:ext cx="9144000" cy="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44" name="Straight Connector 51" hidden="1"/>
            <p:cNvCxnSpPr/>
            <p:nvPr/>
          </p:nvCxnSpPr>
          <p:spPr bwMode="gray">
            <a:xfrm flipH="1">
              <a:off x="-1587" y="556420"/>
              <a:ext cx="9144000" cy="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45" name="Straight Connector 52" hidden="1"/>
            <p:cNvCxnSpPr/>
            <p:nvPr/>
          </p:nvCxnSpPr>
          <p:spPr bwMode="gray">
            <a:xfrm flipH="1">
              <a:off x="-1587" y="5626800"/>
              <a:ext cx="9144000" cy="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46" name="Straight Connector 38" hidden="1"/>
            <p:cNvCxnSpPr/>
            <p:nvPr/>
          </p:nvCxnSpPr>
          <p:spPr bwMode="gray">
            <a:xfrm>
              <a:off x="2088000" y="6107185"/>
              <a:ext cx="0" cy="342041"/>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47" name="Straight Connector 57" hidden="1"/>
            <p:cNvCxnSpPr/>
            <p:nvPr/>
          </p:nvCxnSpPr>
          <p:spPr bwMode="gray">
            <a:xfrm>
              <a:off x="8379525" y="6108143"/>
              <a:ext cx="0" cy="342041"/>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48" name="Straight Connector 22" hidden="1"/>
            <p:cNvCxnSpPr/>
            <p:nvPr/>
          </p:nvCxnSpPr>
          <p:spPr bwMode="gray">
            <a:xfrm flipH="1">
              <a:off x="468000" y="1021575"/>
              <a:ext cx="8208000" cy="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49" name="Straight Connector 51" hidden="1"/>
            <p:cNvCxnSpPr/>
            <p:nvPr/>
          </p:nvCxnSpPr>
          <p:spPr bwMode="gray">
            <a:xfrm flipH="1">
              <a:off x="0" y="375562"/>
              <a:ext cx="9144000" cy="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51" name="Straight Connector 51" hidden="1"/>
            <p:cNvCxnSpPr/>
            <p:nvPr/>
          </p:nvCxnSpPr>
          <p:spPr bwMode="gray">
            <a:xfrm flipH="1">
              <a:off x="4680000" y="846000"/>
              <a:ext cx="4464000" cy="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52" name="Straight Connector 55" hidden="1"/>
            <p:cNvCxnSpPr/>
            <p:nvPr/>
          </p:nvCxnSpPr>
          <p:spPr bwMode="gray">
            <a:xfrm>
              <a:off x="418763" y="0"/>
              <a:ext cx="0" cy="685800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53" name="Straight Connector 54" hidden="1"/>
            <p:cNvCxnSpPr/>
            <p:nvPr/>
          </p:nvCxnSpPr>
          <p:spPr bwMode="gray">
            <a:xfrm>
              <a:off x="8739525" y="0"/>
              <a:ext cx="0" cy="6858000"/>
            </a:xfrm>
            <a:prstGeom prst="line">
              <a:avLst/>
            </a:prstGeom>
            <a:solidFill>
              <a:schemeClr val="bg1"/>
            </a:solidFill>
            <a:ln w="6350" cap="flat" cmpd="sng" algn="ctr">
              <a:solidFill>
                <a:srgbClr val="0070C0"/>
              </a:solidFill>
              <a:prstDash val="dash"/>
              <a:round/>
              <a:headEnd type="none" w="med" len="med"/>
              <a:tailEnd type="none" w="med" len="med"/>
            </a:ln>
            <a:effectLst/>
          </p:spPr>
        </p:cxnSp>
      </p:grpSp>
      <p:grpSp>
        <p:nvGrpSpPr>
          <p:cNvPr id="31" name="Gruppieren 30"/>
          <p:cNvGrpSpPr/>
          <p:nvPr userDrawn="1"/>
        </p:nvGrpSpPr>
        <p:grpSpPr>
          <a:xfrm>
            <a:off x="1587" y="193209"/>
            <a:ext cx="9144000" cy="6662879"/>
            <a:chOff x="11112" y="184204"/>
            <a:chExt cx="9144000" cy="6662879"/>
          </a:xfrm>
        </p:grpSpPr>
        <p:pic>
          <p:nvPicPr>
            <p:cNvPr id="33" name="Bild 11" descr="Icons_unten.jpg"/>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1112" y="6005588"/>
              <a:ext cx="9144000" cy="841495"/>
            </a:xfrm>
            <a:prstGeom prst="rect">
              <a:avLst/>
            </a:prstGeom>
          </p:spPr>
        </p:pic>
        <p:sp>
          <p:nvSpPr>
            <p:cNvPr id="50" name="Rechteck 49"/>
            <p:cNvSpPr/>
            <p:nvPr/>
          </p:nvSpPr>
          <p:spPr>
            <a:xfrm>
              <a:off x="583420" y="717113"/>
              <a:ext cx="2031325" cy="246221"/>
            </a:xfrm>
            <a:prstGeom prst="rect">
              <a:avLst/>
            </a:prstGeom>
          </p:spPr>
          <p:txBody>
            <a:bodyPr wrap="none">
              <a:spAutoFit/>
            </a:bodyPr>
            <a:lstStyle/>
            <a:p>
              <a:r>
                <a:rPr lang="tr-TR" sz="1000" dirty="0">
                  <a:solidFill>
                    <a:srgbClr val="000000"/>
                  </a:solidFill>
                </a:rPr>
                <a:t>İsim		</a:t>
              </a:r>
              <a:endParaRPr lang="en-US" sz="1000" dirty="0">
                <a:solidFill>
                  <a:srgbClr val="000000"/>
                </a:solidFill>
              </a:endParaRPr>
            </a:p>
          </p:txBody>
        </p:sp>
        <p:sp>
          <p:nvSpPr>
            <p:cNvPr id="54" name="Rechteck 53"/>
            <p:cNvSpPr/>
            <p:nvPr/>
          </p:nvSpPr>
          <p:spPr>
            <a:xfrm>
              <a:off x="1280230" y="717113"/>
              <a:ext cx="548548" cy="246221"/>
            </a:xfrm>
            <a:prstGeom prst="rect">
              <a:avLst/>
            </a:prstGeom>
          </p:spPr>
          <p:txBody>
            <a:bodyPr wrap="none">
              <a:spAutoFit/>
            </a:bodyPr>
            <a:lstStyle/>
            <a:p>
              <a:r>
                <a:rPr lang="en-US" sz="1000" dirty="0">
                  <a:solidFill>
                    <a:srgbClr val="000000"/>
                  </a:solidFill>
                </a:rPr>
                <a:t>E-</a:t>
              </a:r>
              <a:r>
                <a:rPr lang="tr-TR" sz="1000" dirty="0">
                  <a:solidFill>
                    <a:srgbClr val="000000"/>
                  </a:solidFill>
                </a:rPr>
                <a:t>m</a:t>
              </a:r>
              <a:r>
                <a:rPr lang="en-US" sz="1000" dirty="0">
                  <a:solidFill>
                    <a:srgbClr val="000000"/>
                  </a:solidFill>
                </a:rPr>
                <a:t>ail</a:t>
              </a:r>
            </a:p>
          </p:txBody>
        </p:sp>
        <p:sp>
          <p:nvSpPr>
            <p:cNvPr id="55" name="Rechteck 54"/>
            <p:cNvSpPr/>
            <p:nvPr/>
          </p:nvSpPr>
          <p:spPr>
            <a:xfrm>
              <a:off x="2437149" y="717113"/>
              <a:ext cx="753732" cy="246221"/>
            </a:xfrm>
            <a:prstGeom prst="rect">
              <a:avLst/>
            </a:prstGeom>
          </p:spPr>
          <p:txBody>
            <a:bodyPr wrap="none">
              <a:spAutoFit/>
            </a:bodyPr>
            <a:lstStyle/>
            <a:p>
              <a:r>
                <a:rPr lang="tr-TR" sz="1000" dirty="0">
                  <a:solidFill>
                    <a:srgbClr val="000000"/>
                  </a:solidFill>
                </a:rPr>
                <a:t>Üniversite</a:t>
              </a:r>
              <a:endParaRPr lang="en-US" sz="1000" dirty="0">
                <a:solidFill>
                  <a:srgbClr val="000000"/>
                </a:solidFill>
              </a:endParaRPr>
            </a:p>
          </p:txBody>
        </p:sp>
        <p:sp>
          <p:nvSpPr>
            <p:cNvPr id="56" name="Rechteck 55"/>
            <p:cNvSpPr/>
            <p:nvPr/>
          </p:nvSpPr>
          <p:spPr>
            <a:xfrm>
              <a:off x="3494992" y="717113"/>
              <a:ext cx="546945" cy="246221"/>
            </a:xfrm>
            <a:prstGeom prst="rect">
              <a:avLst/>
            </a:prstGeom>
          </p:spPr>
          <p:txBody>
            <a:bodyPr wrap="none">
              <a:spAutoFit/>
            </a:bodyPr>
            <a:lstStyle/>
            <a:p>
              <a:r>
                <a:rPr lang="tr-TR" sz="1000" dirty="0">
                  <a:solidFill>
                    <a:srgbClr val="000000"/>
                  </a:solidFill>
                </a:rPr>
                <a:t>Bölüm</a:t>
              </a:r>
              <a:endParaRPr lang="en-US" sz="1000" dirty="0">
                <a:solidFill>
                  <a:srgbClr val="000000"/>
                </a:solidFill>
              </a:endParaRPr>
            </a:p>
          </p:txBody>
        </p:sp>
        <p:sp>
          <p:nvSpPr>
            <p:cNvPr id="57" name="Rechteck 56"/>
            <p:cNvSpPr/>
            <p:nvPr/>
          </p:nvSpPr>
          <p:spPr>
            <a:xfrm>
              <a:off x="180957" y="717113"/>
              <a:ext cx="383438" cy="246221"/>
            </a:xfrm>
            <a:prstGeom prst="rect">
              <a:avLst/>
            </a:prstGeom>
          </p:spPr>
          <p:txBody>
            <a:bodyPr wrap="none">
              <a:spAutoFit/>
            </a:bodyPr>
            <a:lstStyle/>
            <a:p>
              <a:r>
                <a:rPr lang="en-US" sz="1000" dirty="0">
                  <a:solidFill>
                    <a:srgbClr val="000000"/>
                  </a:solidFill>
                </a:rPr>
                <a:t>No.</a:t>
              </a:r>
            </a:p>
          </p:txBody>
        </p:sp>
        <p:sp>
          <p:nvSpPr>
            <p:cNvPr id="58" name="Ellipse 57"/>
            <p:cNvSpPr/>
            <p:nvPr/>
          </p:nvSpPr>
          <p:spPr bwMode="auto">
            <a:xfrm>
              <a:off x="305233" y="1002738"/>
              <a:ext cx="216000" cy="216000"/>
            </a:xfrm>
            <a:prstGeom prst="ellipse">
              <a:avLst/>
            </a:prstGeom>
            <a:solidFill>
              <a:schemeClr val="bg2"/>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en-US" sz="1100" b="1" dirty="0">
                  <a:solidFill>
                    <a:srgbClr val="000000"/>
                  </a:solidFill>
                </a:rPr>
                <a:t>1</a:t>
              </a:r>
            </a:p>
          </p:txBody>
        </p:sp>
        <p:sp>
          <p:nvSpPr>
            <p:cNvPr id="59" name="Ellipse 58"/>
            <p:cNvSpPr/>
            <p:nvPr/>
          </p:nvSpPr>
          <p:spPr bwMode="auto">
            <a:xfrm>
              <a:off x="305233" y="1334507"/>
              <a:ext cx="216000" cy="216000"/>
            </a:xfrm>
            <a:prstGeom prst="ellipse">
              <a:avLst/>
            </a:prstGeom>
            <a:solidFill>
              <a:schemeClr val="bg2"/>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en-US" sz="1100" b="1" dirty="0">
                  <a:solidFill>
                    <a:srgbClr val="000000"/>
                  </a:solidFill>
                </a:rPr>
                <a:t>2</a:t>
              </a:r>
            </a:p>
          </p:txBody>
        </p:sp>
        <p:sp>
          <p:nvSpPr>
            <p:cNvPr id="60" name="Ellipse 59"/>
            <p:cNvSpPr/>
            <p:nvPr/>
          </p:nvSpPr>
          <p:spPr bwMode="auto">
            <a:xfrm>
              <a:off x="305233" y="1666276"/>
              <a:ext cx="216000" cy="216000"/>
            </a:xfrm>
            <a:prstGeom prst="ellipse">
              <a:avLst/>
            </a:prstGeom>
            <a:solidFill>
              <a:schemeClr val="bg2"/>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en-US" sz="1100" b="1" dirty="0">
                  <a:solidFill>
                    <a:srgbClr val="000000"/>
                  </a:solidFill>
                </a:rPr>
                <a:t>3</a:t>
              </a:r>
            </a:p>
          </p:txBody>
        </p:sp>
        <p:sp>
          <p:nvSpPr>
            <p:cNvPr id="62" name="Ellipse 61"/>
            <p:cNvSpPr/>
            <p:nvPr/>
          </p:nvSpPr>
          <p:spPr bwMode="auto">
            <a:xfrm>
              <a:off x="305233" y="1998046"/>
              <a:ext cx="216000" cy="216000"/>
            </a:xfrm>
            <a:prstGeom prst="ellipse">
              <a:avLst/>
            </a:prstGeom>
            <a:solidFill>
              <a:schemeClr val="bg2"/>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en-US" sz="1100" b="1" dirty="0">
                  <a:solidFill>
                    <a:srgbClr val="000000"/>
                  </a:solidFill>
                </a:rPr>
                <a:t>4</a:t>
              </a:r>
            </a:p>
          </p:txBody>
        </p:sp>
        <p:sp>
          <p:nvSpPr>
            <p:cNvPr id="63" name="Rechteck 62"/>
            <p:cNvSpPr/>
            <p:nvPr/>
          </p:nvSpPr>
          <p:spPr>
            <a:xfrm>
              <a:off x="6724650" y="717113"/>
              <a:ext cx="1353053" cy="246221"/>
            </a:xfrm>
            <a:prstGeom prst="rect">
              <a:avLst/>
            </a:prstGeom>
          </p:spPr>
          <p:txBody>
            <a:bodyPr wrap="square">
              <a:spAutoFit/>
            </a:bodyPr>
            <a:lstStyle/>
            <a:p>
              <a:r>
                <a:rPr lang="tr-TR" sz="1000" dirty="0">
                  <a:solidFill>
                    <a:srgbClr val="000000"/>
                  </a:solidFill>
                </a:rPr>
                <a:t>Takımdaki</a:t>
              </a:r>
              <a:r>
                <a:rPr lang="tr-TR" sz="1000" b="1" dirty="0">
                  <a:solidFill>
                    <a:srgbClr val="000000"/>
                  </a:solidFill>
                </a:rPr>
                <a:t> </a:t>
              </a:r>
              <a:r>
                <a:rPr lang="tr-TR" sz="1000" dirty="0">
                  <a:solidFill>
                    <a:srgbClr val="000000"/>
                  </a:solidFill>
                </a:rPr>
                <a:t>Görevi</a:t>
              </a:r>
              <a:endParaRPr lang="en-US" sz="1000" dirty="0">
                <a:solidFill>
                  <a:srgbClr val="000000"/>
                </a:solidFill>
              </a:endParaRPr>
            </a:p>
          </p:txBody>
        </p:sp>
        <p:sp>
          <p:nvSpPr>
            <p:cNvPr id="64" name="Rechteck 63"/>
            <p:cNvSpPr/>
            <p:nvPr/>
          </p:nvSpPr>
          <p:spPr bwMode="auto">
            <a:xfrm>
              <a:off x="172331" y="184204"/>
              <a:ext cx="1107899" cy="216000"/>
            </a:xfrm>
            <a:prstGeom prst="rect">
              <a:avLst/>
            </a:prstGeom>
            <a:solidFill>
              <a:schemeClr val="accent3"/>
            </a:solidFill>
            <a:ln w="1270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defTabSz="995363" eaLnBrk="0" fontAlgn="base" hangingPunct="0">
                <a:spcBef>
                  <a:spcPct val="0"/>
                </a:spcBef>
                <a:spcAft>
                  <a:spcPct val="0"/>
                </a:spcAft>
              </a:pPr>
              <a:r>
                <a:rPr lang="tr-TR" sz="1100" b="1" dirty="0">
                  <a:solidFill>
                    <a:srgbClr val="000000"/>
                  </a:solidFill>
                </a:rPr>
                <a:t>Proje İsmi</a:t>
              </a:r>
              <a:endParaRPr lang="en-US" sz="1100" b="1" dirty="0">
                <a:solidFill>
                  <a:srgbClr val="000000"/>
                </a:solidFill>
              </a:endParaRPr>
            </a:p>
          </p:txBody>
        </p:sp>
        <p:sp>
          <p:nvSpPr>
            <p:cNvPr id="65" name="Rechteck 64"/>
            <p:cNvSpPr/>
            <p:nvPr/>
          </p:nvSpPr>
          <p:spPr bwMode="auto">
            <a:xfrm>
              <a:off x="172331" y="184205"/>
              <a:ext cx="8810247" cy="215999"/>
            </a:xfrm>
            <a:prstGeom prst="rect">
              <a:avLst/>
            </a:prstGeom>
            <a:noFill/>
            <a:ln w="12700" cap="flat" cmpd="sng" algn="ctr">
              <a:solidFill>
                <a:schemeClr val="accent3"/>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defTabSz="995363" eaLnBrk="0" fontAlgn="base" hangingPunct="0">
                <a:spcBef>
                  <a:spcPct val="0"/>
                </a:spcBef>
                <a:spcAft>
                  <a:spcPts val="300"/>
                </a:spcAft>
              </a:pPr>
              <a:endParaRPr lang="en-US" sz="1200" dirty="0">
                <a:solidFill>
                  <a:srgbClr val="000000"/>
                </a:solidFill>
              </a:endParaRPr>
            </a:p>
          </p:txBody>
        </p:sp>
        <p:sp>
          <p:nvSpPr>
            <p:cNvPr id="66" name="Rechteck 65"/>
            <p:cNvSpPr/>
            <p:nvPr/>
          </p:nvSpPr>
          <p:spPr bwMode="auto">
            <a:xfrm>
              <a:off x="172332" y="487909"/>
              <a:ext cx="8810246" cy="229203"/>
            </a:xfrm>
            <a:prstGeom prst="rect">
              <a:avLst/>
            </a:prstGeom>
            <a:solidFill>
              <a:schemeClr val="accent3"/>
            </a:solidFill>
            <a:ln w="1270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defTabSz="995363" eaLnBrk="0" fontAlgn="base" hangingPunct="0">
                <a:spcBef>
                  <a:spcPct val="0"/>
                </a:spcBef>
                <a:spcAft>
                  <a:spcPct val="0"/>
                </a:spcAft>
              </a:pPr>
              <a:r>
                <a:rPr lang="tr-TR" sz="1100" b="1" dirty="0">
                  <a:solidFill>
                    <a:srgbClr val="000000"/>
                  </a:solidFill>
                </a:rPr>
                <a:t>Takım</a:t>
              </a:r>
              <a:endParaRPr lang="en-US" sz="1100" b="1" dirty="0">
                <a:solidFill>
                  <a:srgbClr val="000000"/>
                </a:solidFill>
              </a:endParaRPr>
            </a:p>
          </p:txBody>
        </p:sp>
        <p:sp>
          <p:nvSpPr>
            <p:cNvPr id="67" name="Rechteck 66"/>
            <p:cNvSpPr/>
            <p:nvPr/>
          </p:nvSpPr>
          <p:spPr bwMode="auto">
            <a:xfrm>
              <a:off x="172332" y="487909"/>
              <a:ext cx="8810246" cy="1779611"/>
            </a:xfrm>
            <a:prstGeom prst="rect">
              <a:avLst/>
            </a:prstGeom>
            <a:noFill/>
            <a:ln w="12700" cap="flat" cmpd="sng" algn="ctr">
              <a:solidFill>
                <a:schemeClr val="accent3"/>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ts val="300"/>
                </a:spcAft>
              </a:pPr>
              <a:endParaRPr lang="en-US" sz="1200" dirty="0">
                <a:solidFill>
                  <a:srgbClr val="000000"/>
                </a:solidFill>
              </a:endParaRPr>
            </a:p>
          </p:txBody>
        </p:sp>
        <p:cxnSp>
          <p:nvCxnSpPr>
            <p:cNvPr id="68" name="Gerade Verbindung 67"/>
            <p:cNvCxnSpPr/>
            <p:nvPr/>
          </p:nvCxnSpPr>
          <p:spPr bwMode="auto">
            <a:xfrm flipV="1">
              <a:off x="259627" y="928768"/>
              <a:ext cx="8676577" cy="17252"/>
            </a:xfrm>
            <a:prstGeom prst="line">
              <a:avLst/>
            </a:prstGeom>
            <a:solidFill>
              <a:schemeClr val="bg1"/>
            </a:solidFill>
            <a:ln w="19050" cap="flat" cmpd="sng" algn="ctr">
              <a:solidFill>
                <a:schemeClr val="tx2"/>
              </a:solidFill>
              <a:prstDash val="solid"/>
              <a:round/>
              <a:headEnd type="none" w="med" len="med"/>
              <a:tailEnd type="none"/>
            </a:ln>
            <a:effectLst/>
          </p:spPr>
        </p:cxnSp>
        <p:cxnSp>
          <p:nvCxnSpPr>
            <p:cNvPr id="69" name="Gerade Verbindung 68"/>
            <p:cNvCxnSpPr/>
            <p:nvPr/>
          </p:nvCxnSpPr>
          <p:spPr bwMode="auto">
            <a:xfrm>
              <a:off x="583420" y="745995"/>
              <a:ext cx="0" cy="1512000"/>
            </a:xfrm>
            <a:prstGeom prst="line">
              <a:avLst/>
            </a:prstGeom>
            <a:solidFill>
              <a:schemeClr val="bg1"/>
            </a:solidFill>
            <a:ln w="19050" cap="flat" cmpd="sng" algn="ctr">
              <a:solidFill>
                <a:schemeClr val="tx2"/>
              </a:solidFill>
              <a:prstDash val="solid"/>
              <a:round/>
              <a:headEnd type="none" w="med" len="med"/>
              <a:tailEnd type="none"/>
            </a:ln>
            <a:effectLst/>
          </p:spPr>
        </p:cxnSp>
        <p:cxnSp>
          <p:nvCxnSpPr>
            <p:cNvPr id="70" name="Gerade Verbindung 69"/>
            <p:cNvCxnSpPr/>
            <p:nvPr/>
          </p:nvCxnSpPr>
          <p:spPr bwMode="auto">
            <a:xfrm>
              <a:off x="259630" y="1279659"/>
              <a:ext cx="8676574" cy="0"/>
            </a:xfrm>
            <a:prstGeom prst="line">
              <a:avLst/>
            </a:prstGeom>
            <a:solidFill>
              <a:schemeClr val="bg1"/>
            </a:solidFill>
            <a:ln w="12700" cap="flat" cmpd="sng" algn="ctr">
              <a:solidFill>
                <a:schemeClr val="tx2"/>
              </a:solidFill>
              <a:prstDash val="dash"/>
              <a:round/>
              <a:headEnd type="none" w="med" len="med"/>
              <a:tailEnd type="none"/>
            </a:ln>
            <a:effectLst/>
          </p:spPr>
        </p:cxnSp>
        <p:cxnSp>
          <p:nvCxnSpPr>
            <p:cNvPr id="71" name="Gerade Verbindung 70"/>
            <p:cNvCxnSpPr/>
            <p:nvPr/>
          </p:nvCxnSpPr>
          <p:spPr bwMode="auto">
            <a:xfrm>
              <a:off x="259630" y="1613298"/>
              <a:ext cx="8676574" cy="0"/>
            </a:xfrm>
            <a:prstGeom prst="line">
              <a:avLst/>
            </a:prstGeom>
            <a:solidFill>
              <a:schemeClr val="bg1"/>
            </a:solidFill>
            <a:ln w="12700" cap="flat" cmpd="sng" algn="ctr">
              <a:solidFill>
                <a:schemeClr val="tx2"/>
              </a:solidFill>
              <a:prstDash val="dash"/>
              <a:round/>
              <a:headEnd type="none" w="med" len="med"/>
              <a:tailEnd type="none"/>
            </a:ln>
            <a:effectLst/>
          </p:spPr>
        </p:cxnSp>
        <p:cxnSp>
          <p:nvCxnSpPr>
            <p:cNvPr id="72" name="Gerade Verbindung 71"/>
            <p:cNvCxnSpPr/>
            <p:nvPr/>
          </p:nvCxnSpPr>
          <p:spPr bwMode="auto">
            <a:xfrm>
              <a:off x="259630" y="1946936"/>
              <a:ext cx="8676574" cy="51110"/>
            </a:xfrm>
            <a:prstGeom prst="line">
              <a:avLst/>
            </a:prstGeom>
            <a:solidFill>
              <a:schemeClr val="bg1"/>
            </a:solidFill>
            <a:ln w="12700" cap="flat" cmpd="sng" algn="ctr">
              <a:solidFill>
                <a:schemeClr val="tx2"/>
              </a:solidFill>
              <a:prstDash val="dash"/>
              <a:round/>
              <a:headEnd type="none" w="med" len="med"/>
              <a:tailEnd type="none"/>
            </a:ln>
            <a:effectLst/>
          </p:spPr>
        </p:cxnSp>
        <p:cxnSp>
          <p:nvCxnSpPr>
            <p:cNvPr id="73" name="Gerade Verbindung 72"/>
            <p:cNvCxnSpPr/>
            <p:nvPr/>
          </p:nvCxnSpPr>
          <p:spPr bwMode="auto">
            <a:xfrm>
              <a:off x="1280230" y="745995"/>
              <a:ext cx="0" cy="1512000"/>
            </a:xfrm>
            <a:prstGeom prst="line">
              <a:avLst/>
            </a:prstGeom>
            <a:solidFill>
              <a:schemeClr val="bg1"/>
            </a:solidFill>
            <a:ln w="12700" cap="flat" cmpd="sng" algn="ctr">
              <a:solidFill>
                <a:schemeClr val="tx2"/>
              </a:solidFill>
              <a:prstDash val="solid"/>
              <a:round/>
              <a:headEnd type="none" w="med" len="med"/>
              <a:tailEnd type="none"/>
            </a:ln>
            <a:effectLst/>
          </p:spPr>
        </p:cxnSp>
        <p:cxnSp>
          <p:nvCxnSpPr>
            <p:cNvPr id="74" name="Gerade Verbindung 73"/>
            <p:cNvCxnSpPr/>
            <p:nvPr/>
          </p:nvCxnSpPr>
          <p:spPr bwMode="auto">
            <a:xfrm>
              <a:off x="2437149" y="745995"/>
              <a:ext cx="0" cy="1512000"/>
            </a:xfrm>
            <a:prstGeom prst="line">
              <a:avLst/>
            </a:prstGeom>
            <a:solidFill>
              <a:schemeClr val="bg1"/>
            </a:solidFill>
            <a:ln w="12700" cap="flat" cmpd="sng" algn="ctr">
              <a:solidFill>
                <a:schemeClr val="tx2"/>
              </a:solidFill>
              <a:prstDash val="solid"/>
              <a:round/>
              <a:headEnd type="none" w="med" len="med"/>
              <a:tailEnd type="none"/>
            </a:ln>
            <a:effectLst/>
          </p:spPr>
        </p:cxnSp>
        <p:cxnSp>
          <p:nvCxnSpPr>
            <p:cNvPr id="75" name="Gerade Verbindung 74"/>
            <p:cNvCxnSpPr/>
            <p:nvPr/>
          </p:nvCxnSpPr>
          <p:spPr bwMode="auto">
            <a:xfrm>
              <a:off x="3514728" y="745995"/>
              <a:ext cx="0" cy="1512000"/>
            </a:xfrm>
            <a:prstGeom prst="line">
              <a:avLst/>
            </a:prstGeom>
            <a:solidFill>
              <a:schemeClr val="bg1"/>
            </a:solidFill>
            <a:ln w="12700" cap="flat" cmpd="sng" algn="ctr">
              <a:solidFill>
                <a:schemeClr val="tx2"/>
              </a:solidFill>
              <a:prstDash val="solid"/>
              <a:round/>
              <a:headEnd type="none" w="med" len="med"/>
              <a:tailEnd type="none"/>
            </a:ln>
            <a:effectLst/>
          </p:spPr>
        </p:cxnSp>
        <p:cxnSp>
          <p:nvCxnSpPr>
            <p:cNvPr id="76" name="Gerade Verbindung 75"/>
            <p:cNvCxnSpPr/>
            <p:nvPr/>
          </p:nvCxnSpPr>
          <p:spPr bwMode="auto">
            <a:xfrm>
              <a:off x="6779588" y="755520"/>
              <a:ext cx="0" cy="1512000"/>
            </a:xfrm>
            <a:prstGeom prst="line">
              <a:avLst/>
            </a:prstGeom>
            <a:solidFill>
              <a:schemeClr val="bg1"/>
            </a:solidFill>
            <a:ln w="12700" cap="flat" cmpd="sng" algn="ctr">
              <a:solidFill>
                <a:schemeClr val="tx2"/>
              </a:solidFill>
              <a:prstDash val="solid"/>
              <a:round/>
              <a:headEnd type="none" w="med" len="med"/>
              <a:tailEnd type="none"/>
            </a:ln>
            <a:effectLst/>
          </p:spPr>
        </p:cxnSp>
        <p:sp>
          <p:nvSpPr>
            <p:cNvPr id="79" name="Rechteck 78"/>
            <p:cNvSpPr/>
            <p:nvPr/>
          </p:nvSpPr>
          <p:spPr bwMode="auto">
            <a:xfrm>
              <a:off x="5957888" y="2544763"/>
              <a:ext cx="3024690" cy="1804317"/>
            </a:xfrm>
            <a:prstGeom prst="rect">
              <a:avLst/>
            </a:prstGeom>
            <a:noFill/>
            <a:ln w="12700" cap="flat" cmpd="sng" algn="ctr">
              <a:solidFill>
                <a:schemeClr val="bg2"/>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ts val="300"/>
                </a:spcAft>
              </a:pPr>
              <a:endParaRPr lang="en-US" sz="1200" dirty="0">
                <a:solidFill>
                  <a:srgbClr val="000000"/>
                </a:solidFill>
              </a:endParaRPr>
            </a:p>
          </p:txBody>
        </p:sp>
        <p:sp>
          <p:nvSpPr>
            <p:cNvPr id="80" name="Rechteck 79"/>
            <p:cNvSpPr/>
            <p:nvPr/>
          </p:nvSpPr>
          <p:spPr bwMode="auto">
            <a:xfrm>
              <a:off x="5962650" y="2411611"/>
              <a:ext cx="3019928" cy="208729"/>
            </a:xfrm>
            <a:prstGeom prst="rect">
              <a:avLst/>
            </a:prstGeom>
            <a:solidFill>
              <a:schemeClr val="bg2"/>
            </a:solidFill>
            <a:ln w="1270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defTabSz="995363" eaLnBrk="0" fontAlgn="base" hangingPunct="0">
                <a:spcBef>
                  <a:spcPct val="0"/>
                </a:spcBef>
                <a:spcAft>
                  <a:spcPct val="0"/>
                </a:spcAft>
              </a:pPr>
              <a:r>
                <a:rPr lang="tr-TR" sz="1100" b="1" dirty="0">
                  <a:solidFill>
                    <a:srgbClr val="000000"/>
                  </a:solidFill>
                </a:rPr>
                <a:t>Proje Alanınız Nedir?</a:t>
              </a:r>
              <a:endParaRPr lang="en-US" sz="1100" b="1" dirty="0">
                <a:solidFill>
                  <a:srgbClr val="000000"/>
                </a:solidFill>
              </a:endParaRPr>
            </a:p>
          </p:txBody>
        </p:sp>
        <p:sp>
          <p:nvSpPr>
            <p:cNvPr id="91" name="Rechteck 90"/>
            <p:cNvSpPr/>
            <p:nvPr/>
          </p:nvSpPr>
          <p:spPr bwMode="auto">
            <a:xfrm>
              <a:off x="172332" y="2410226"/>
              <a:ext cx="5753867" cy="210115"/>
            </a:xfrm>
            <a:prstGeom prst="rect">
              <a:avLst/>
            </a:prstGeom>
            <a:solidFill>
              <a:schemeClr val="bg2"/>
            </a:solidFill>
            <a:ln w="1270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defTabSz="995363" eaLnBrk="0" fontAlgn="base" hangingPunct="0">
                <a:spcBef>
                  <a:spcPct val="0"/>
                </a:spcBef>
                <a:spcAft>
                  <a:spcPct val="0"/>
                </a:spcAft>
              </a:pPr>
              <a:r>
                <a:rPr lang="tr-TR" sz="1100" b="1" dirty="0">
                  <a:solidFill>
                    <a:srgbClr val="000000"/>
                  </a:solidFill>
                </a:rPr>
                <a:t>Proje Alanları</a:t>
              </a:r>
              <a:endParaRPr lang="en-US" sz="1100" b="1" dirty="0">
                <a:solidFill>
                  <a:srgbClr val="000000"/>
                </a:solidFill>
              </a:endParaRPr>
            </a:p>
          </p:txBody>
        </p:sp>
        <p:sp>
          <p:nvSpPr>
            <p:cNvPr id="92" name="Rechteck 91"/>
            <p:cNvSpPr/>
            <p:nvPr/>
          </p:nvSpPr>
          <p:spPr bwMode="auto">
            <a:xfrm>
              <a:off x="172331" y="4436210"/>
              <a:ext cx="2553894" cy="187236"/>
            </a:xfrm>
            <a:prstGeom prst="rect">
              <a:avLst/>
            </a:prstGeom>
            <a:solidFill>
              <a:schemeClr val="bg2"/>
            </a:solidFill>
            <a:ln w="1270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defTabSz="995363" eaLnBrk="0" fontAlgn="base" hangingPunct="0">
                <a:spcBef>
                  <a:spcPct val="0"/>
                </a:spcBef>
                <a:spcAft>
                  <a:spcPct val="0"/>
                </a:spcAft>
              </a:pPr>
              <a:r>
                <a:rPr lang="tr-TR" sz="1100" b="1" dirty="0">
                  <a:solidFill>
                    <a:srgbClr val="000000"/>
                  </a:solidFill>
                </a:rPr>
                <a:t>Problem/Fırsat</a:t>
              </a:r>
              <a:endParaRPr lang="en-US" sz="1100" b="1" dirty="0">
                <a:solidFill>
                  <a:srgbClr val="000000"/>
                </a:solidFill>
              </a:endParaRPr>
            </a:p>
          </p:txBody>
        </p:sp>
        <p:sp>
          <p:nvSpPr>
            <p:cNvPr id="93" name="Rechteck 92"/>
            <p:cNvSpPr/>
            <p:nvPr/>
          </p:nvSpPr>
          <p:spPr bwMode="auto">
            <a:xfrm>
              <a:off x="2783230" y="4439584"/>
              <a:ext cx="3148819" cy="183862"/>
            </a:xfrm>
            <a:prstGeom prst="rect">
              <a:avLst/>
            </a:prstGeom>
            <a:solidFill>
              <a:schemeClr val="bg2"/>
            </a:solidFill>
            <a:ln w="1270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defTabSz="995363" eaLnBrk="0" fontAlgn="base" hangingPunct="0">
                <a:spcBef>
                  <a:spcPct val="0"/>
                </a:spcBef>
                <a:spcAft>
                  <a:spcPct val="0"/>
                </a:spcAft>
              </a:pPr>
              <a:r>
                <a:rPr lang="tr-TR" sz="1100" b="1" dirty="0">
                  <a:solidFill>
                    <a:srgbClr val="000000"/>
                  </a:solidFill>
                </a:rPr>
                <a:t>Fikir/Çözüm</a:t>
              </a:r>
              <a:endParaRPr lang="en-US" sz="1100" b="1" dirty="0">
                <a:solidFill>
                  <a:srgbClr val="000000"/>
                </a:solidFill>
              </a:endParaRPr>
            </a:p>
          </p:txBody>
        </p:sp>
        <p:sp>
          <p:nvSpPr>
            <p:cNvPr id="94" name="Rechteck 93"/>
            <p:cNvSpPr/>
            <p:nvPr/>
          </p:nvSpPr>
          <p:spPr bwMode="auto">
            <a:xfrm>
              <a:off x="172332" y="2410225"/>
              <a:ext cx="5753867" cy="1951303"/>
            </a:xfrm>
            <a:prstGeom prst="rect">
              <a:avLst/>
            </a:prstGeom>
            <a:noFill/>
            <a:ln w="12700" cap="flat" cmpd="sng" algn="ctr">
              <a:solidFill>
                <a:schemeClr val="bg2"/>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ts val="300"/>
                </a:spcAft>
              </a:pPr>
              <a:endParaRPr lang="en-US" sz="1200" dirty="0">
                <a:solidFill>
                  <a:srgbClr val="000000"/>
                </a:solidFill>
              </a:endParaRPr>
            </a:p>
          </p:txBody>
        </p:sp>
        <p:sp>
          <p:nvSpPr>
            <p:cNvPr id="95" name="Rechteck 94"/>
            <p:cNvSpPr/>
            <p:nvPr/>
          </p:nvSpPr>
          <p:spPr bwMode="auto">
            <a:xfrm>
              <a:off x="172331" y="4451224"/>
              <a:ext cx="2553894" cy="1843113"/>
            </a:xfrm>
            <a:prstGeom prst="rect">
              <a:avLst/>
            </a:prstGeom>
            <a:noFill/>
            <a:ln w="12700" cap="flat" cmpd="sng" algn="ctr">
              <a:solidFill>
                <a:schemeClr val="bg2"/>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ts val="300"/>
                </a:spcAft>
              </a:pPr>
              <a:endParaRPr lang="en-US" sz="1200" dirty="0">
                <a:solidFill>
                  <a:srgbClr val="000000"/>
                </a:solidFill>
              </a:endParaRPr>
            </a:p>
          </p:txBody>
        </p:sp>
        <p:sp>
          <p:nvSpPr>
            <p:cNvPr id="96" name="Rechteck 95"/>
            <p:cNvSpPr/>
            <p:nvPr/>
          </p:nvSpPr>
          <p:spPr bwMode="auto">
            <a:xfrm>
              <a:off x="5991297" y="4433476"/>
              <a:ext cx="3011582" cy="1860862"/>
            </a:xfrm>
            <a:prstGeom prst="rect">
              <a:avLst/>
            </a:prstGeom>
            <a:noFill/>
            <a:ln w="12700" cap="flat" cmpd="sng" algn="ctr">
              <a:solidFill>
                <a:schemeClr val="bg2"/>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ts val="300"/>
                </a:spcAft>
              </a:pPr>
              <a:endParaRPr lang="en-US" sz="1200" dirty="0">
                <a:solidFill>
                  <a:srgbClr val="000000"/>
                </a:solidFill>
              </a:endParaRPr>
            </a:p>
          </p:txBody>
        </p:sp>
        <p:pic>
          <p:nvPicPr>
            <p:cNvPr id="98" name="Picture 6"/>
            <p:cNvPicPr>
              <a:picLocks noChangeAspect="1" noChangeArrowheads="1"/>
            </p:cNvPicPr>
            <p:nvPr/>
          </p:nvPicPr>
          <p:blipFill>
            <a:blip r:embed="rId8">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978468" y="4952950"/>
              <a:ext cx="989967" cy="10820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9" name="Rechteck 98"/>
            <p:cNvSpPr/>
            <p:nvPr/>
          </p:nvSpPr>
          <p:spPr bwMode="auto">
            <a:xfrm>
              <a:off x="598094" y="4900010"/>
              <a:ext cx="1912972" cy="1394327"/>
            </a:xfrm>
            <a:prstGeom prst="rect">
              <a:avLst/>
            </a:prstGeom>
            <a:solidFill>
              <a:srgbClr val="FFFFFF">
                <a:alpha val="83137"/>
              </a:srgbClr>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a:solidFill>
                  <a:srgbClr val="000000"/>
                </a:solidFill>
              </a:endParaRPr>
            </a:p>
          </p:txBody>
        </p:sp>
        <p:grpSp>
          <p:nvGrpSpPr>
            <p:cNvPr id="100" name="Gruppieren 99"/>
            <p:cNvGrpSpPr>
              <a:grpSpLocks noChangeAspect="1"/>
            </p:cNvGrpSpPr>
            <p:nvPr/>
          </p:nvGrpSpPr>
          <p:grpSpPr>
            <a:xfrm>
              <a:off x="6136608" y="5296034"/>
              <a:ext cx="2880001" cy="458346"/>
              <a:chOff x="4022100" y="8883898"/>
              <a:chExt cx="5073909" cy="807502"/>
            </a:xfrm>
          </p:grpSpPr>
          <p:pic>
            <p:nvPicPr>
              <p:cNvPr id="109" name="Picture 2" descr="https://dhlstartuplab.com/bundles/dhl/images/startup/timeline.png?2.0.0"/>
              <p:cNvPicPr>
                <a:picLocks noChangeAspect="1" noChangeArrowheads="1"/>
              </p:cNvPicPr>
              <p:nvPr/>
            </p:nvPicPr>
            <p:blipFill rotWithShape="1">
              <a:blip r:embed="rId9" cstate="print">
                <a:grayscl/>
                <a:extLst>
                  <a:ext uri="{BEBA8EAE-BF5A-486C-A8C5-ECC9F3942E4B}">
                    <a14:imgProps xmlns:a14="http://schemas.microsoft.com/office/drawing/2010/main">
                      <a14:imgLayer r:embed="rId10">
                        <a14:imgEffect>
                          <a14:backgroundRemoval t="844" b="50211" l="13889" r="30794"/>
                        </a14:imgEffect>
                      </a14:imgLayer>
                    </a14:imgProps>
                  </a:ext>
                  <a:ext uri="{28A0092B-C50C-407E-A947-70E740481C1C}">
                    <a14:useLocalDpi xmlns:a14="http://schemas.microsoft.com/office/drawing/2010/main" val="0"/>
                  </a:ext>
                </a:extLst>
              </a:blip>
              <a:srcRect l="13017" r="69049" b="50000"/>
              <a:stretch/>
            </p:blipFill>
            <p:spPr bwMode="auto">
              <a:xfrm>
                <a:off x="5140542" y="8883898"/>
                <a:ext cx="1510277" cy="792000"/>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2" descr="https://dhlstartuplab.com/bundles/dhl/images/startup/timeline.png?2.0.0"/>
              <p:cNvPicPr>
                <a:picLocks noChangeAspect="1" noChangeArrowheads="1"/>
              </p:cNvPicPr>
              <p:nvPr/>
            </p:nvPicPr>
            <p:blipFill rotWithShape="1">
              <a:blip r:embed="rId11" cstate="print">
                <a:grayscl/>
                <a:extLst>
                  <a:ext uri="{BEBA8EAE-BF5A-486C-A8C5-ECC9F3942E4B}">
                    <a14:imgProps xmlns:a14="http://schemas.microsoft.com/office/drawing/2010/main">
                      <a14:imgLayer r:embed="rId10">
                        <a14:imgEffect>
                          <a14:backgroundRemoval t="0" b="44726" l="0" r="16587"/>
                        </a14:imgEffect>
                      </a14:imgLayer>
                    </a14:imgProps>
                  </a:ext>
                  <a:ext uri="{28A0092B-C50C-407E-A947-70E740481C1C}">
                    <a14:useLocalDpi xmlns:a14="http://schemas.microsoft.com/office/drawing/2010/main" val="0"/>
                  </a:ext>
                </a:extLst>
              </a:blip>
              <a:srcRect r="83303" b="50000"/>
              <a:stretch/>
            </p:blipFill>
            <p:spPr bwMode="auto">
              <a:xfrm>
                <a:off x="4022100" y="8883898"/>
                <a:ext cx="1406122" cy="792000"/>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2" descr="https://dhlstartuplab.com/bundles/dhl/images/startup/timeline.png?2.0.0"/>
              <p:cNvPicPr>
                <a:picLocks noChangeAspect="1" noChangeArrowheads="1"/>
              </p:cNvPicPr>
              <p:nvPr/>
            </p:nvPicPr>
            <p:blipFill rotWithShape="1">
              <a:blip r:embed="rId9" cstate="print">
                <a:grayscl/>
                <a:extLst>
                  <a:ext uri="{BEBA8EAE-BF5A-486C-A8C5-ECC9F3942E4B}">
                    <a14:imgProps xmlns:a14="http://schemas.microsoft.com/office/drawing/2010/main">
                      <a14:imgLayer r:embed="rId10">
                        <a14:imgEffect>
                          <a14:backgroundRemoval t="844" b="50211" l="13889" r="30794"/>
                        </a14:imgEffect>
                      </a14:imgLayer>
                    </a14:imgProps>
                  </a:ext>
                  <a:ext uri="{28A0092B-C50C-407E-A947-70E740481C1C}">
                    <a14:useLocalDpi xmlns:a14="http://schemas.microsoft.com/office/drawing/2010/main" val="0"/>
                  </a:ext>
                </a:extLst>
              </a:blip>
              <a:srcRect l="13017" r="69049" b="50000"/>
              <a:stretch/>
            </p:blipFill>
            <p:spPr bwMode="auto">
              <a:xfrm>
                <a:off x="6363137" y="8899400"/>
                <a:ext cx="1510277" cy="792000"/>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2" descr="https://dhlstartuplab.com/bundles/dhl/images/startup/timeline.png?2.0.0"/>
              <p:cNvPicPr>
                <a:picLocks noChangeAspect="1" noChangeArrowheads="1"/>
              </p:cNvPicPr>
              <p:nvPr/>
            </p:nvPicPr>
            <p:blipFill rotWithShape="1">
              <a:blip r:embed="rId9" cstate="print">
                <a:grayscl/>
                <a:extLst>
                  <a:ext uri="{BEBA8EAE-BF5A-486C-A8C5-ECC9F3942E4B}">
                    <a14:imgProps xmlns:a14="http://schemas.microsoft.com/office/drawing/2010/main">
                      <a14:imgLayer r:embed="rId10">
                        <a14:imgEffect>
                          <a14:backgroundRemoval t="844" b="50211" l="13889" r="30794"/>
                        </a14:imgEffect>
                      </a14:imgLayer>
                    </a14:imgProps>
                  </a:ext>
                  <a:ext uri="{28A0092B-C50C-407E-A947-70E740481C1C}">
                    <a14:useLocalDpi xmlns:a14="http://schemas.microsoft.com/office/drawing/2010/main" val="0"/>
                  </a:ext>
                </a:extLst>
              </a:blip>
              <a:srcRect l="13017" r="69049" b="50000"/>
              <a:stretch/>
            </p:blipFill>
            <p:spPr bwMode="auto">
              <a:xfrm>
                <a:off x="7585732" y="8883898"/>
                <a:ext cx="1510277" cy="792000"/>
              </a:xfrm>
              <a:prstGeom prst="rect">
                <a:avLst/>
              </a:prstGeom>
              <a:noFill/>
              <a:extLst>
                <a:ext uri="{909E8E84-426E-40DD-AFC4-6F175D3DCCD1}">
                  <a14:hiddenFill xmlns:a14="http://schemas.microsoft.com/office/drawing/2010/main">
                    <a:solidFill>
                      <a:srgbClr val="FFFFFF"/>
                    </a:solidFill>
                  </a14:hiddenFill>
                </a:ext>
              </a:extLst>
            </p:spPr>
          </p:pic>
          <p:sp>
            <p:nvSpPr>
              <p:cNvPr id="113" name="Rechteck 112"/>
              <p:cNvSpPr/>
              <p:nvPr/>
            </p:nvSpPr>
            <p:spPr bwMode="auto">
              <a:xfrm>
                <a:off x="4392793" y="9099897"/>
                <a:ext cx="575561" cy="180000"/>
              </a:xfrm>
              <a:prstGeom prst="rect">
                <a:avLst/>
              </a:prstGeom>
              <a:solidFill>
                <a:srgbClr val="C7C7C7"/>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a:solidFill>
                    <a:srgbClr val="000000"/>
                  </a:solidFill>
                </a:endParaRPr>
              </a:p>
            </p:txBody>
          </p:sp>
          <p:sp>
            <p:nvSpPr>
              <p:cNvPr id="114" name="Rechteck 113"/>
              <p:cNvSpPr/>
              <p:nvPr/>
            </p:nvSpPr>
            <p:spPr bwMode="auto">
              <a:xfrm>
                <a:off x="5748331" y="9132992"/>
                <a:ext cx="575561" cy="180000"/>
              </a:xfrm>
              <a:prstGeom prst="rect">
                <a:avLst/>
              </a:prstGeom>
              <a:solidFill>
                <a:srgbClr val="C7C7C7"/>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a:solidFill>
                    <a:srgbClr val="000000"/>
                  </a:solidFill>
                </a:endParaRPr>
              </a:p>
            </p:txBody>
          </p:sp>
          <p:sp>
            <p:nvSpPr>
              <p:cNvPr id="115" name="Rechteck 114"/>
              <p:cNvSpPr/>
              <p:nvPr/>
            </p:nvSpPr>
            <p:spPr bwMode="auto">
              <a:xfrm>
                <a:off x="6959829" y="9131705"/>
                <a:ext cx="575561" cy="211364"/>
              </a:xfrm>
              <a:prstGeom prst="rect">
                <a:avLst/>
              </a:prstGeom>
              <a:solidFill>
                <a:srgbClr val="C7C7C7"/>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a:solidFill>
                    <a:srgbClr val="000000"/>
                  </a:solidFill>
                </a:endParaRPr>
              </a:p>
            </p:txBody>
          </p:sp>
          <p:sp>
            <p:nvSpPr>
              <p:cNvPr id="116" name="Rechteck 115"/>
              <p:cNvSpPr/>
              <p:nvPr/>
            </p:nvSpPr>
            <p:spPr bwMode="auto">
              <a:xfrm>
                <a:off x="8186344" y="9128485"/>
                <a:ext cx="575561" cy="180000"/>
              </a:xfrm>
              <a:prstGeom prst="rect">
                <a:avLst/>
              </a:prstGeom>
              <a:solidFill>
                <a:srgbClr val="C7C7C7"/>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a:solidFill>
                    <a:srgbClr val="000000"/>
                  </a:solidFill>
                </a:endParaRPr>
              </a:p>
            </p:txBody>
          </p:sp>
        </p:grpSp>
        <p:sp>
          <p:nvSpPr>
            <p:cNvPr id="101" name="Rechteck 100"/>
            <p:cNvSpPr/>
            <p:nvPr/>
          </p:nvSpPr>
          <p:spPr bwMode="auto">
            <a:xfrm>
              <a:off x="6094944" y="5031196"/>
              <a:ext cx="2887634" cy="909505"/>
            </a:xfrm>
            <a:prstGeom prst="rect">
              <a:avLst/>
            </a:prstGeom>
            <a:solidFill>
              <a:srgbClr val="FFFFFF">
                <a:alpha val="83137"/>
              </a:srgbClr>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a:solidFill>
                  <a:srgbClr val="000000"/>
                </a:solidFill>
              </a:endParaRPr>
            </a:p>
          </p:txBody>
        </p:sp>
        <p:pic>
          <p:nvPicPr>
            <p:cNvPr id="103" name="Picture 16" descr="Bildergebnis für problem icon">
              <a:hlinkClick r:id="rId12"/>
            </p:cNvPr>
            <p:cNvPicPr>
              <a:picLocks noChangeAspect="1" noChangeArrowheads="1"/>
            </p:cNvPicPr>
            <p:nvPr/>
          </p:nvPicPr>
          <p:blipFill>
            <a:blip r:embed="rId1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80243" y="2887588"/>
              <a:ext cx="1241866" cy="1241866"/>
            </a:xfrm>
            <a:prstGeom prst="rect">
              <a:avLst/>
            </a:prstGeom>
            <a:noFill/>
            <a:extLst>
              <a:ext uri="{909E8E84-426E-40DD-AFC4-6F175D3DCCD1}">
                <a14:hiddenFill xmlns:a14="http://schemas.microsoft.com/office/drawing/2010/main">
                  <a:solidFill>
                    <a:srgbClr val="FFFFFF"/>
                  </a:solidFill>
                </a14:hiddenFill>
              </a:ext>
            </a:extLst>
          </p:spPr>
        </p:pic>
        <p:sp>
          <p:nvSpPr>
            <p:cNvPr id="104" name="Rechteck 103"/>
            <p:cNvSpPr/>
            <p:nvPr/>
          </p:nvSpPr>
          <p:spPr bwMode="auto">
            <a:xfrm>
              <a:off x="179668" y="2620340"/>
              <a:ext cx="5752382" cy="1741187"/>
            </a:xfrm>
            <a:prstGeom prst="rect">
              <a:avLst/>
            </a:prstGeom>
            <a:solidFill>
              <a:schemeClr val="tx2">
                <a:lumMod val="20000"/>
                <a:lumOff val="80000"/>
                <a:alpha val="83137"/>
              </a:schemeClr>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a:solidFill>
                  <a:srgbClr val="000000"/>
                </a:solidFill>
              </a:endParaRPr>
            </a:p>
          </p:txBody>
        </p:sp>
        <p:sp>
          <p:nvSpPr>
            <p:cNvPr id="106" name="Rechteck 105"/>
            <p:cNvSpPr/>
            <p:nvPr/>
          </p:nvSpPr>
          <p:spPr bwMode="auto">
            <a:xfrm>
              <a:off x="2781738" y="4433476"/>
              <a:ext cx="3150311" cy="1860862"/>
            </a:xfrm>
            <a:prstGeom prst="rect">
              <a:avLst/>
            </a:prstGeom>
            <a:noFill/>
            <a:ln w="12700" cap="flat" cmpd="sng" algn="ctr">
              <a:solidFill>
                <a:schemeClr val="bg2"/>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ts val="300"/>
                </a:spcAft>
              </a:pPr>
              <a:endParaRPr lang="en-US" sz="1200" dirty="0">
                <a:solidFill>
                  <a:srgbClr val="000000"/>
                </a:solidFill>
              </a:endParaRPr>
            </a:p>
          </p:txBody>
        </p:sp>
        <p:pic>
          <p:nvPicPr>
            <p:cNvPr id="107" name="Picture 14" descr="Bildergebnis für important icon">
              <a:hlinkClick r:id="rId14"/>
            </p:cNvPr>
            <p:cNvPicPr>
              <a:picLocks noChangeAspect="1" noChangeArrowheads="1"/>
            </p:cNvPicPr>
            <p:nvPr/>
          </p:nvPicPr>
          <p:blipFill>
            <a:blip r:embed="rId15"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06094" y="5044564"/>
              <a:ext cx="708237" cy="708237"/>
            </a:xfrm>
            <a:prstGeom prst="rect">
              <a:avLst/>
            </a:prstGeom>
            <a:noFill/>
            <a:extLst>
              <a:ext uri="{909E8E84-426E-40DD-AFC4-6F175D3DCCD1}">
                <a14:hiddenFill xmlns:a14="http://schemas.microsoft.com/office/drawing/2010/main">
                  <a:solidFill>
                    <a:srgbClr val="FFFFFF"/>
                  </a:solidFill>
                </a14:hiddenFill>
              </a:ext>
            </a:extLst>
          </p:spPr>
        </p:pic>
        <p:sp>
          <p:nvSpPr>
            <p:cNvPr id="108" name="Rechteck 107"/>
            <p:cNvSpPr/>
            <p:nvPr/>
          </p:nvSpPr>
          <p:spPr bwMode="auto">
            <a:xfrm>
              <a:off x="3419105" y="4889524"/>
              <a:ext cx="1912972" cy="1404813"/>
            </a:xfrm>
            <a:prstGeom prst="rect">
              <a:avLst/>
            </a:prstGeom>
            <a:solidFill>
              <a:srgbClr val="FFFFFF">
                <a:alpha val="83137"/>
              </a:srgbClr>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a:solidFill>
                  <a:srgbClr val="000000"/>
                </a:solidFill>
              </a:endParaRPr>
            </a:p>
          </p:txBody>
        </p:sp>
        <p:sp>
          <p:nvSpPr>
            <p:cNvPr id="105" name="Rechteck 104"/>
            <p:cNvSpPr/>
            <p:nvPr/>
          </p:nvSpPr>
          <p:spPr bwMode="auto">
            <a:xfrm>
              <a:off x="5991297" y="4433475"/>
              <a:ext cx="3025312" cy="358119"/>
            </a:xfrm>
            <a:prstGeom prst="rect">
              <a:avLst/>
            </a:prstGeom>
            <a:solidFill>
              <a:schemeClr val="bg2"/>
            </a:solidFill>
            <a:ln w="1270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defTabSz="995363" eaLnBrk="0" fontAlgn="base" hangingPunct="0">
                <a:spcBef>
                  <a:spcPct val="0"/>
                </a:spcBef>
                <a:spcAft>
                  <a:spcPct val="0"/>
                </a:spcAft>
              </a:pPr>
              <a:r>
                <a:rPr lang="tr-TR" sz="1100" b="1" dirty="0">
                  <a:solidFill>
                    <a:srgbClr val="000000"/>
                  </a:solidFill>
                </a:rPr>
                <a:t>Projenizin Lojistik Sektörüyle Bağlantısını Yazınız</a:t>
              </a:r>
              <a:endParaRPr lang="en-US" sz="1100" b="1" dirty="0">
                <a:solidFill>
                  <a:srgbClr val="000000"/>
                </a:solidFill>
              </a:endParaRPr>
            </a:p>
          </p:txBody>
        </p:sp>
      </p:grpSp>
      <p:cxnSp>
        <p:nvCxnSpPr>
          <p:cNvPr id="508" name="Gerade Verbindung 75"/>
          <p:cNvCxnSpPr/>
          <p:nvPr userDrawn="1"/>
        </p:nvCxnSpPr>
        <p:spPr bwMode="auto">
          <a:xfrm>
            <a:off x="5116736" y="730748"/>
            <a:ext cx="0" cy="1512000"/>
          </a:xfrm>
          <a:prstGeom prst="line">
            <a:avLst/>
          </a:prstGeom>
          <a:solidFill>
            <a:schemeClr val="bg1"/>
          </a:solidFill>
          <a:ln w="12700" cap="flat" cmpd="sng" algn="ctr">
            <a:solidFill>
              <a:schemeClr val="tx2"/>
            </a:solidFill>
            <a:prstDash val="solid"/>
            <a:round/>
            <a:headEnd type="none" w="med" len="med"/>
            <a:tailEnd type="none"/>
          </a:ln>
          <a:effectLst/>
        </p:spPr>
      </p:cxnSp>
      <p:sp>
        <p:nvSpPr>
          <p:cNvPr id="529" name="Rechteck 62"/>
          <p:cNvSpPr/>
          <p:nvPr userDrawn="1"/>
        </p:nvSpPr>
        <p:spPr>
          <a:xfrm>
            <a:off x="5083251" y="726117"/>
            <a:ext cx="1797043" cy="246221"/>
          </a:xfrm>
          <a:prstGeom prst="rect">
            <a:avLst/>
          </a:prstGeom>
        </p:spPr>
        <p:txBody>
          <a:bodyPr wrap="square">
            <a:spAutoFit/>
          </a:bodyPr>
          <a:lstStyle/>
          <a:p>
            <a:r>
              <a:rPr lang="tr-TR" sz="1000" dirty="0">
                <a:solidFill>
                  <a:srgbClr val="000000"/>
                </a:solidFill>
              </a:rPr>
              <a:t>Cep Telefonu</a:t>
            </a:r>
            <a:endParaRPr lang="en-US" sz="1000" dirty="0">
              <a:solidFill>
                <a:srgbClr val="000000"/>
              </a:solidFill>
            </a:endParaRPr>
          </a:p>
        </p:txBody>
      </p:sp>
      <p:grpSp>
        <p:nvGrpSpPr>
          <p:cNvPr id="21" name="Group 20"/>
          <p:cNvGrpSpPr/>
          <p:nvPr userDrawn="1"/>
        </p:nvGrpSpPr>
        <p:grpSpPr>
          <a:xfrm>
            <a:off x="247341" y="2811941"/>
            <a:ext cx="5394269" cy="1269921"/>
            <a:chOff x="199716" y="2954816"/>
            <a:chExt cx="5394269" cy="1269921"/>
          </a:xfrm>
        </p:grpSpPr>
        <p:grpSp>
          <p:nvGrpSpPr>
            <p:cNvPr id="553" name="Group 552"/>
            <p:cNvGrpSpPr/>
            <p:nvPr userDrawn="1"/>
          </p:nvGrpSpPr>
          <p:grpSpPr>
            <a:xfrm>
              <a:off x="270138" y="3038795"/>
              <a:ext cx="5323847" cy="1185942"/>
              <a:chOff x="320139" y="2700119"/>
              <a:chExt cx="5569204" cy="1608469"/>
            </a:xfrm>
          </p:grpSpPr>
          <p:grpSp>
            <p:nvGrpSpPr>
              <p:cNvPr id="558" name="Group 557"/>
              <p:cNvGrpSpPr/>
              <p:nvPr/>
            </p:nvGrpSpPr>
            <p:grpSpPr>
              <a:xfrm>
                <a:off x="4304819" y="2700119"/>
                <a:ext cx="751133" cy="751133"/>
                <a:chOff x="1543828" y="3344020"/>
                <a:chExt cx="751133" cy="751133"/>
              </a:xfrm>
            </p:grpSpPr>
            <p:sp>
              <p:nvSpPr>
                <p:cNvPr id="864" name="Rounded Rectangle 863"/>
                <p:cNvSpPr/>
                <p:nvPr/>
              </p:nvSpPr>
              <p:spPr bwMode="auto">
                <a:xfrm>
                  <a:off x="1543828" y="3344020"/>
                  <a:ext cx="751133" cy="751133"/>
                </a:xfrm>
                <a:prstGeom prst="roundRect">
                  <a:avLst>
                    <a:gd name="adj" fmla="val 10327"/>
                  </a:avLst>
                </a:prstGeom>
                <a:solidFill>
                  <a:srgbClr val="666666"/>
                </a:solidFill>
                <a:ln w="12700" cap="flat" cmpd="sng" algn="ctr">
                  <a:noFill/>
                  <a:prstDash val="solid"/>
                  <a:round/>
                  <a:headEnd type="none" w="med" len="med"/>
                  <a:tailEnd type="none" w="med" len="med"/>
                </a:ln>
                <a:effectLst/>
              </p:spPr>
              <p:txBody>
                <a:bodyPr vert="horz" wrap="square" lIns="18288" tIns="18288" rIns="18288" bIns="18288" numCol="1" rtlCol="0" anchor="b" anchorCtr="0" compatLnSpc="1">
                  <a:prstTxWarp prst="textNoShape">
                    <a:avLst/>
                  </a:prstTxWarp>
                  <a:noAutofit/>
                </a:bodyPr>
                <a:lstStyle/>
                <a:p>
                  <a:pPr algn="ctr">
                    <a:defRPr/>
                  </a:pPr>
                  <a:r>
                    <a:rPr lang="en-US" sz="700" kern="0" dirty="0">
                      <a:solidFill>
                        <a:srgbClr val="FFFFFF"/>
                      </a:solidFill>
                      <a:latin typeface="Calibri"/>
                    </a:rPr>
                    <a:t>MOB</a:t>
                  </a:r>
                  <a:r>
                    <a:rPr lang="tr-TR" sz="700" kern="0" dirty="0">
                      <a:solidFill>
                        <a:srgbClr val="FFFFFF"/>
                      </a:solidFill>
                      <a:latin typeface="Calibri"/>
                    </a:rPr>
                    <a:t>İL</a:t>
                  </a:r>
                </a:p>
                <a:p>
                  <a:pPr algn="ctr">
                    <a:defRPr/>
                  </a:pPr>
                  <a:r>
                    <a:rPr lang="tr-TR" sz="700" kern="0" dirty="0">
                      <a:solidFill>
                        <a:srgbClr val="FFFFFF"/>
                      </a:solidFill>
                      <a:latin typeface="Calibri"/>
                    </a:rPr>
                    <a:t>ÇÖZÜMLER</a:t>
                  </a:r>
                  <a:endParaRPr lang="en-US" sz="700" kern="0" dirty="0">
                    <a:solidFill>
                      <a:srgbClr val="FFFFFF"/>
                    </a:solidFill>
                    <a:latin typeface="Calibri"/>
                  </a:endParaRPr>
                </a:p>
              </p:txBody>
            </p:sp>
            <p:grpSp>
              <p:nvGrpSpPr>
                <p:cNvPr id="865" name="Group 864"/>
                <p:cNvGrpSpPr/>
                <p:nvPr/>
              </p:nvGrpSpPr>
              <p:grpSpPr>
                <a:xfrm>
                  <a:off x="1843184" y="3464956"/>
                  <a:ext cx="152421" cy="298830"/>
                  <a:chOff x="438150" y="3960813"/>
                  <a:chExt cx="563563" cy="1104900"/>
                </a:xfrm>
              </p:grpSpPr>
              <p:sp>
                <p:nvSpPr>
                  <p:cNvPr id="866" name="Freeform 434"/>
                  <p:cNvSpPr>
                    <a:spLocks/>
                  </p:cNvSpPr>
                  <p:nvPr/>
                </p:nvSpPr>
                <p:spPr bwMode="auto">
                  <a:xfrm>
                    <a:off x="438150" y="3960813"/>
                    <a:ext cx="563563" cy="1104900"/>
                  </a:xfrm>
                  <a:custGeom>
                    <a:avLst/>
                    <a:gdLst>
                      <a:gd name="T0" fmla="*/ 150 w 177"/>
                      <a:gd name="T1" fmla="*/ 0 h 348"/>
                      <a:gd name="T2" fmla="*/ 27 w 177"/>
                      <a:gd name="T3" fmla="*/ 0 h 348"/>
                      <a:gd name="T4" fmla="*/ 0 w 177"/>
                      <a:gd name="T5" fmla="*/ 27 h 348"/>
                      <a:gd name="T6" fmla="*/ 0 w 177"/>
                      <a:gd name="T7" fmla="*/ 321 h 348"/>
                      <a:gd name="T8" fmla="*/ 27 w 177"/>
                      <a:gd name="T9" fmla="*/ 348 h 348"/>
                      <a:gd name="T10" fmla="*/ 150 w 177"/>
                      <a:gd name="T11" fmla="*/ 348 h 348"/>
                      <a:gd name="T12" fmla="*/ 177 w 177"/>
                      <a:gd name="T13" fmla="*/ 321 h 348"/>
                      <a:gd name="T14" fmla="*/ 177 w 177"/>
                      <a:gd name="T15" fmla="*/ 27 h 348"/>
                      <a:gd name="T16" fmla="*/ 150 w 177"/>
                      <a:gd name="T17"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348">
                        <a:moveTo>
                          <a:pt x="150" y="0"/>
                        </a:moveTo>
                        <a:cubicBezTo>
                          <a:pt x="27" y="0"/>
                          <a:pt x="27" y="0"/>
                          <a:pt x="27" y="0"/>
                        </a:cubicBezTo>
                        <a:cubicBezTo>
                          <a:pt x="12" y="0"/>
                          <a:pt x="0" y="12"/>
                          <a:pt x="0" y="27"/>
                        </a:cubicBezTo>
                        <a:cubicBezTo>
                          <a:pt x="0" y="321"/>
                          <a:pt x="0" y="321"/>
                          <a:pt x="0" y="321"/>
                        </a:cubicBezTo>
                        <a:cubicBezTo>
                          <a:pt x="0" y="336"/>
                          <a:pt x="12" y="348"/>
                          <a:pt x="27" y="348"/>
                        </a:cubicBezTo>
                        <a:cubicBezTo>
                          <a:pt x="150" y="348"/>
                          <a:pt x="150" y="348"/>
                          <a:pt x="150" y="348"/>
                        </a:cubicBezTo>
                        <a:cubicBezTo>
                          <a:pt x="165" y="348"/>
                          <a:pt x="177" y="336"/>
                          <a:pt x="177" y="321"/>
                        </a:cubicBezTo>
                        <a:cubicBezTo>
                          <a:pt x="177" y="27"/>
                          <a:pt x="177" y="27"/>
                          <a:pt x="177" y="27"/>
                        </a:cubicBezTo>
                        <a:cubicBezTo>
                          <a:pt x="177" y="12"/>
                          <a:pt x="165" y="0"/>
                          <a:pt x="150" y="0"/>
                        </a:cubicBezTo>
                      </a:path>
                    </a:pathLst>
                  </a:custGeom>
                  <a:solidFill>
                    <a:srgbClr val="FFFFF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67" name="Freeform 435"/>
                  <p:cNvSpPr>
                    <a:spLocks/>
                  </p:cNvSpPr>
                  <p:nvPr/>
                </p:nvSpPr>
                <p:spPr bwMode="auto">
                  <a:xfrm>
                    <a:off x="638175" y="4027488"/>
                    <a:ext cx="163513" cy="12700"/>
                  </a:xfrm>
                  <a:custGeom>
                    <a:avLst/>
                    <a:gdLst>
                      <a:gd name="T0" fmla="*/ 2 w 51"/>
                      <a:gd name="T1" fmla="*/ 0 h 4"/>
                      <a:gd name="T2" fmla="*/ 49 w 51"/>
                      <a:gd name="T3" fmla="*/ 0 h 4"/>
                      <a:gd name="T4" fmla="*/ 51 w 51"/>
                      <a:gd name="T5" fmla="*/ 2 h 4"/>
                      <a:gd name="T6" fmla="*/ 49 w 51"/>
                      <a:gd name="T7" fmla="*/ 4 h 4"/>
                      <a:gd name="T8" fmla="*/ 2 w 51"/>
                      <a:gd name="T9" fmla="*/ 4 h 4"/>
                      <a:gd name="T10" fmla="*/ 0 w 51"/>
                      <a:gd name="T11" fmla="*/ 2 h 4"/>
                      <a:gd name="T12" fmla="*/ 2 w 51"/>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51" h="4">
                        <a:moveTo>
                          <a:pt x="2" y="0"/>
                        </a:moveTo>
                        <a:cubicBezTo>
                          <a:pt x="49" y="0"/>
                          <a:pt x="49" y="0"/>
                          <a:pt x="49" y="0"/>
                        </a:cubicBezTo>
                        <a:cubicBezTo>
                          <a:pt x="50" y="0"/>
                          <a:pt x="51" y="1"/>
                          <a:pt x="51" y="2"/>
                        </a:cubicBezTo>
                        <a:cubicBezTo>
                          <a:pt x="51" y="3"/>
                          <a:pt x="50" y="4"/>
                          <a:pt x="49" y="4"/>
                        </a:cubicBezTo>
                        <a:cubicBezTo>
                          <a:pt x="2" y="4"/>
                          <a:pt x="2" y="4"/>
                          <a:pt x="2" y="4"/>
                        </a:cubicBezTo>
                        <a:cubicBezTo>
                          <a:pt x="1" y="4"/>
                          <a:pt x="0" y="3"/>
                          <a:pt x="0" y="2"/>
                        </a:cubicBezTo>
                        <a:cubicBezTo>
                          <a:pt x="0" y="1"/>
                          <a:pt x="1"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68" name="Oval 436"/>
                  <p:cNvSpPr>
                    <a:spLocks noChangeArrowheads="1"/>
                  </p:cNvSpPr>
                  <p:nvPr/>
                </p:nvSpPr>
                <p:spPr bwMode="auto">
                  <a:xfrm>
                    <a:off x="669925" y="4903788"/>
                    <a:ext cx="100013" cy="984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69" name="Rectangle 437"/>
                  <p:cNvSpPr>
                    <a:spLocks noChangeArrowheads="1"/>
                  </p:cNvSpPr>
                  <p:nvPr/>
                </p:nvSpPr>
                <p:spPr bwMode="auto">
                  <a:xfrm>
                    <a:off x="476250" y="4129088"/>
                    <a:ext cx="487363" cy="720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70" name="Oval 438"/>
                  <p:cNvSpPr>
                    <a:spLocks noChangeArrowheads="1"/>
                  </p:cNvSpPr>
                  <p:nvPr/>
                </p:nvSpPr>
                <p:spPr bwMode="auto">
                  <a:xfrm>
                    <a:off x="685800" y="4919663"/>
                    <a:ext cx="68263" cy="66675"/>
                  </a:xfrm>
                  <a:prstGeom prst="ellipse">
                    <a:avLst/>
                  </a:prstGeom>
                  <a:solidFill>
                    <a:srgbClr val="57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71" name="Rectangle 439"/>
                  <p:cNvSpPr>
                    <a:spLocks noChangeArrowheads="1"/>
                  </p:cNvSpPr>
                  <p:nvPr/>
                </p:nvSpPr>
                <p:spPr bwMode="auto">
                  <a:xfrm>
                    <a:off x="501650" y="4294188"/>
                    <a:ext cx="433388" cy="222250"/>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72" name="Rectangle 440"/>
                  <p:cNvSpPr>
                    <a:spLocks noChangeArrowheads="1"/>
                  </p:cNvSpPr>
                  <p:nvPr/>
                </p:nvSpPr>
                <p:spPr bwMode="auto">
                  <a:xfrm>
                    <a:off x="622300" y="4198938"/>
                    <a:ext cx="312738" cy="31750"/>
                  </a:xfrm>
                  <a:prstGeom prst="rect">
                    <a:avLst/>
                  </a:prstGeom>
                  <a:solidFill>
                    <a:srgbClr val="CF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73" name="Oval 441"/>
                  <p:cNvSpPr>
                    <a:spLocks noChangeArrowheads="1"/>
                  </p:cNvSpPr>
                  <p:nvPr/>
                </p:nvSpPr>
                <p:spPr bwMode="auto">
                  <a:xfrm>
                    <a:off x="501650" y="4173538"/>
                    <a:ext cx="82550" cy="82550"/>
                  </a:xfrm>
                  <a:prstGeom prst="ellipse">
                    <a:avLst/>
                  </a:prstGeom>
                  <a:solidFill>
                    <a:srgbClr val="CF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74" name="Rectangle 442"/>
                  <p:cNvSpPr>
                    <a:spLocks noChangeArrowheads="1"/>
                  </p:cNvSpPr>
                  <p:nvPr/>
                </p:nvSpPr>
                <p:spPr bwMode="auto">
                  <a:xfrm>
                    <a:off x="501650" y="4659313"/>
                    <a:ext cx="433388" cy="12700"/>
                  </a:xfrm>
                  <a:prstGeom prst="rect">
                    <a:avLst/>
                  </a:prstGeom>
                  <a:solidFill>
                    <a:srgbClr val="CF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75" name="Rectangle 443"/>
                  <p:cNvSpPr>
                    <a:spLocks noChangeArrowheads="1"/>
                  </p:cNvSpPr>
                  <p:nvPr/>
                </p:nvSpPr>
                <p:spPr bwMode="auto">
                  <a:xfrm>
                    <a:off x="501650" y="4703763"/>
                    <a:ext cx="433388" cy="12700"/>
                  </a:xfrm>
                  <a:prstGeom prst="rect">
                    <a:avLst/>
                  </a:prstGeom>
                  <a:solidFill>
                    <a:srgbClr val="CF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76" name="Rectangle 444"/>
                  <p:cNvSpPr>
                    <a:spLocks noChangeArrowheads="1"/>
                  </p:cNvSpPr>
                  <p:nvPr/>
                </p:nvSpPr>
                <p:spPr bwMode="auto">
                  <a:xfrm>
                    <a:off x="501650" y="4745038"/>
                    <a:ext cx="433388" cy="12700"/>
                  </a:xfrm>
                  <a:prstGeom prst="rect">
                    <a:avLst/>
                  </a:prstGeom>
                  <a:solidFill>
                    <a:srgbClr val="CF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77" name="Rectangle 445"/>
                  <p:cNvSpPr>
                    <a:spLocks noChangeArrowheads="1"/>
                  </p:cNvSpPr>
                  <p:nvPr/>
                </p:nvSpPr>
                <p:spPr bwMode="auto">
                  <a:xfrm>
                    <a:off x="501650" y="4789488"/>
                    <a:ext cx="315913" cy="12700"/>
                  </a:xfrm>
                  <a:prstGeom prst="rect">
                    <a:avLst/>
                  </a:prstGeom>
                  <a:solidFill>
                    <a:srgbClr val="CF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78" name="Rectangle 446"/>
                  <p:cNvSpPr>
                    <a:spLocks noChangeArrowheads="1"/>
                  </p:cNvSpPr>
                  <p:nvPr/>
                </p:nvSpPr>
                <p:spPr bwMode="auto">
                  <a:xfrm>
                    <a:off x="501650" y="4573588"/>
                    <a:ext cx="290513" cy="31750"/>
                  </a:xfrm>
                  <a:prstGeom prst="rect">
                    <a:avLst/>
                  </a:prstGeom>
                  <a:solidFill>
                    <a:srgbClr val="CF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grpSp>
          </p:grpSp>
          <p:grpSp>
            <p:nvGrpSpPr>
              <p:cNvPr id="559" name="Group 558"/>
              <p:cNvGrpSpPr/>
              <p:nvPr/>
            </p:nvGrpSpPr>
            <p:grpSpPr>
              <a:xfrm>
                <a:off x="1920667" y="3550010"/>
                <a:ext cx="751133" cy="751133"/>
                <a:chOff x="2556382" y="3344020"/>
                <a:chExt cx="751133" cy="751133"/>
              </a:xfrm>
            </p:grpSpPr>
            <p:sp>
              <p:nvSpPr>
                <p:cNvPr id="840" name="Rounded Rectangle 839"/>
                <p:cNvSpPr/>
                <p:nvPr/>
              </p:nvSpPr>
              <p:spPr bwMode="auto">
                <a:xfrm>
                  <a:off x="2556382" y="3344020"/>
                  <a:ext cx="751133" cy="751133"/>
                </a:xfrm>
                <a:prstGeom prst="roundRect">
                  <a:avLst>
                    <a:gd name="adj" fmla="val 11277"/>
                  </a:avLst>
                </a:prstGeom>
                <a:solidFill>
                  <a:srgbClr val="666666"/>
                </a:solidFill>
                <a:ln w="12700" cap="flat" cmpd="sng" algn="ctr">
                  <a:noFill/>
                  <a:prstDash val="solid"/>
                  <a:round/>
                  <a:headEnd type="none" w="med" len="med"/>
                  <a:tailEnd type="none" w="med" len="med"/>
                </a:ln>
                <a:effectLst/>
              </p:spPr>
              <p:txBody>
                <a:bodyPr vert="horz" wrap="square" lIns="18288" tIns="18288" rIns="18288" bIns="18288" numCol="1" rtlCol="0" anchor="b" anchorCtr="0" compatLnSpc="1">
                  <a:prstTxWarp prst="textNoShape">
                    <a:avLst/>
                  </a:prstTxWarp>
                  <a:noAutofit/>
                </a:bodyPr>
                <a:lstStyle/>
                <a:p>
                  <a:pPr algn="ctr">
                    <a:defRPr/>
                  </a:pPr>
                  <a:r>
                    <a:rPr lang="en-US" sz="700" kern="0" dirty="0">
                      <a:solidFill>
                        <a:srgbClr val="FFFFFF"/>
                      </a:solidFill>
                      <a:latin typeface="Calibri"/>
                    </a:rPr>
                    <a:t>ANAL</a:t>
                  </a:r>
                  <a:r>
                    <a:rPr lang="tr-TR" sz="700" kern="0" dirty="0">
                      <a:solidFill>
                        <a:srgbClr val="FFFFFF"/>
                      </a:solidFill>
                      <a:latin typeface="Calibri"/>
                    </a:rPr>
                    <a:t>İTİK</a:t>
                  </a:r>
                  <a:r>
                    <a:rPr lang="en-US" sz="700" kern="0" dirty="0">
                      <a:solidFill>
                        <a:srgbClr val="FFFFFF"/>
                      </a:solidFill>
                      <a:latin typeface="Calibri"/>
                    </a:rPr>
                    <a:t>/ </a:t>
                  </a:r>
                  <a:r>
                    <a:rPr lang="tr-TR" sz="700" kern="0" dirty="0">
                      <a:solidFill>
                        <a:srgbClr val="FFFFFF"/>
                      </a:solidFill>
                      <a:latin typeface="Calibri"/>
                    </a:rPr>
                    <a:t>İŞ</a:t>
                  </a:r>
                  <a:r>
                    <a:rPr lang="en-US" sz="700" kern="0" dirty="0">
                      <a:solidFill>
                        <a:srgbClr val="FFFFFF"/>
                      </a:solidFill>
                      <a:latin typeface="Calibri"/>
                    </a:rPr>
                    <a:t> </a:t>
                  </a:r>
                  <a:r>
                    <a:rPr lang="tr-TR" sz="700" kern="0" dirty="0">
                      <a:solidFill>
                        <a:srgbClr val="FFFFFF"/>
                      </a:solidFill>
                      <a:latin typeface="Calibri"/>
                    </a:rPr>
                    <a:t>ZEKASI</a:t>
                  </a:r>
                  <a:endParaRPr lang="en-US" sz="700" kern="0" dirty="0">
                    <a:solidFill>
                      <a:srgbClr val="FFFFFF"/>
                    </a:solidFill>
                    <a:latin typeface="Calibri"/>
                  </a:endParaRPr>
                </a:p>
              </p:txBody>
            </p:sp>
            <p:grpSp>
              <p:nvGrpSpPr>
                <p:cNvPr id="841" name="Group 840"/>
                <p:cNvGrpSpPr/>
                <p:nvPr/>
              </p:nvGrpSpPr>
              <p:grpSpPr>
                <a:xfrm>
                  <a:off x="2798997" y="3456547"/>
                  <a:ext cx="265902" cy="263445"/>
                  <a:chOff x="2806700" y="3922713"/>
                  <a:chExt cx="858838" cy="850900"/>
                </a:xfrm>
              </p:grpSpPr>
              <p:sp>
                <p:nvSpPr>
                  <p:cNvPr id="842" name="Rectangle 447"/>
                  <p:cNvSpPr>
                    <a:spLocks noChangeArrowheads="1"/>
                  </p:cNvSpPr>
                  <p:nvPr/>
                </p:nvSpPr>
                <p:spPr bwMode="auto">
                  <a:xfrm>
                    <a:off x="3159125" y="4205288"/>
                    <a:ext cx="330200" cy="136525"/>
                  </a:xfrm>
                  <a:prstGeom prst="rect">
                    <a:avLst/>
                  </a:prstGeom>
                  <a:solidFill>
                    <a:srgbClr val="5756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43" name="Rectangle 448"/>
                  <p:cNvSpPr>
                    <a:spLocks noChangeArrowheads="1"/>
                  </p:cNvSpPr>
                  <p:nvPr/>
                </p:nvSpPr>
                <p:spPr bwMode="auto">
                  <a:xfrm>
                    <a:off x="2806700" y="4392613"/>
                    <a:ext cx="330200" cy="38100"/>
                  </a:xfrm>
                  <a:prstGeom prst="rect">
                    <a:avLst/>
                  </a:prstGeom>
                  <a:solidFill>
                    <a:srgbClr val="0E97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44" name="Rectangle 449"/>
                  <p:cNvSpPr>
                    <a:spLocks noChangeArrowheads="1"/>
                  </p:cNvSpPr>
                  <p:nvPr/>
                </p:nvSpPr>
                <p:spPr bwMode="auto">
                  <a:xfrm>
                    <a:off x="3621088" y="4262438"/>
                    <a:ext cx="44450" cy="511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45" name="Rectangle 450"/>
                  <p:cNvSpPr>
                    <a:spLocks noChangeArrowheads="1"/>
                  </p:cNvSpPr>
                  <p:nvPr/>
                </p:nvSpPr>
                <p:spPr bwMode="auto">
                  <a:xfrm>
                    <a:off x="3621088" y="4262438"/>
                    <a:ext cx="44450" cy="127000"/>
                  </a:xfrm>
                  <a:prstGeom prst="rect">
                    <a:avLst/>
                  </a:prstGeom>
                  <a:solidFill>
                    <a:srgbClr val="0E97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46" name="Rectangle 451"/>
                  <p:cNvSpPr>
                    <a:spLocks noChangeArrowheads="1"/>
                  </p:cNvSpPr>
                  <p:nvPr/>
                </p:nvSpPr>
                <p:spPr bwMode="auto">
                  <a:xfrm>
                    <a:off x="3538538" y="4475163"/>
                    <a:ext cx="41275" cy="2984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47" name="Rectangle 452"/>
                  <p:cNvSpPr>
                    <a:spLocks noChangeArrowheads="1"/>
                  </p:cNvSpPr>
                  <p:nvPr/>
                </p:nvSpPr>
                <p:spPr bwMode="auto">
                  <a:xfrm>
                    <a:off x="3538538" y="4071938"/>
                    <a:ext cx="41275" cy="447675"/>
                  </a:xfrm>
                  <a:prstGeom prst="rect">
                    <a:avLst/>
                  </a:prstGeom>
                  <a:solidFill>
                    <a:srgbClr val="0E97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48" name="Freeform 453"/>
                  <p:cNvSpPr>
                    <a:spLocks noEditPoints="1"/>
                  </p:cNvSpPr>
                  <p:nvPr/>
                </p:nvSpPr>
                <p:spPr bwMode="auto">
                  <a:xfrm>
                    <a:off x="2813050" y="3922713"/>
                    <a:ext cx="571500" cy="571500"/>
                  </a:xfrm>
                  <a:custGeom>
                    <a:avLst/>
                    <a:gdLst>
                      <a:gd name="T0" fmla="*/ 180 w 180"/>
                      <a:gd name="T1" fmla="*/ 90 h 180"/>
                      <a:gd name="T2" fmla="*/ 90 w 180"/>
                      <a:gd name="T3" fmla="*/ 0 h 180"/>
                      <a:gd name="T4" fmla="*/ 0 w 180"/>
                      <a:gd name="T5" fmla="*/ 90 h 180"/>
                      <a:gd name="T6" fmla="*/ 90 w 180"/>
                      <a:gd name="T7" fmla="*/ 180 h 180"/>
                      <a:gd name="T8" fmla="*/ 148 w 180"/>
                      <a:gd name="T9" fmla="*/ 158 h 180"/>
                      <a:gd name="T10" fmla="*/ 166 w 180"/>
                      <a:gd name="T11" fmla="*/ 177 h 180"/>
                      <a:gd name="T12" fmla="*/ 176 w 180"/>
                      <a:gd name="T13" fmla="*/ 167 h 180"/>
                      <a:gd name="T14" fmla="*/ 158 w 180"/>
                      <a:gd name="T15" fmla="*/ 148 h 180"/>
                      <a:gd name="T16" fmla="*/ 180 w 180"/>
                      <a:gd name="T17" fmla="*/ 90 h 180"/>
                      <a:gd name="T18" fmla="*/ 16 w 180"/>
                      <a:gd name="T19" fmla="*/ 90 h 180"/>
                      <a:gd name="T20" fmla="*/ 90 w 180"/>
                      <a:gd name="T21" fmla="*/ 15 h 180"/>
                      <a:gd name="T22" fmla="*/ 164 w 180"/>
                      <a:gd name="T23" fmla="*/ 90 h 180"/>
                      <a:gd name="T24" fmla="*/ 90 w 180"/>
                      <a:gd name="T25" fmla="*/ 164 h 180"/>
                      <a:gd name="T26" fmla="*/ 16 w 180"/>
                      <a:gd name="T27"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180">
                        <a:moveTo>
                          <a:pt x="180" y="90"/>
                        </a:moveTo>
                        <a:cubicBezTo>
                          <a:pt x="180" y="40"/>
                          <a:pt x="140" y="0"/>
                          <a:pt x="90" y="0"/>
                        </a:cubicBezTo>
                        <a:cubicBezTo>
                          <a:pt x="40" y="0"/>
                          <a:pt x="0" y="40"/>
                          <a:pt x="0" y="90"/>
                        </a:cubicBezTo>
                        <a:cubicBezTo>
                          <a:pt x="0" y="139"/>
                          <a:pt x="40" y="180"/>
                          <a:pt x="90" y="180"/>
                        </a:cubicBezTo>
                        <a:cubicBezTo>
                          <a:pt x="112" y="180"/>
                          <a:pt x="132" y="172"/>
                          <a:pt x="148" y="158"/>
                        </a:cubicBezTo>
                        <a:cubicBezTo>
                          <a:pt x="166" y="177"/>
                          <a:pt x="166" y="177"/>
                          <a:pt x="166" y="177"/>
                        </a:cubicBezTo>
                        <a:cubicBezTo>
                          <a:pt x="176" y="167"/>
                          <a:pt x="176" y="167"/>
                          <a:pt x="176" y="167"/>
                        </a:cubicBezTo>
                        <a:cubicBezTo>
                          <a:pt x="158" y="148"/>
                          <a:pt x="158" y="148"/>
                          <a:pt x="158" y="148"/>
                        </a:cubicBezTo>
                        <a:cubicBezTo>
                          <a:pt x="172" y="133"/>
                          <a:pt x="180" y="112"/>
                          <a:pt x="180" y="90"/>
                        </a:cubicBezTo>
                        <a:moveTo>
                          <a:pt x="16" y="90"/>
                        </a:moveTo>
                        <a:cubicBezTo>
                          <a:pt x="16" y="49"/>
                          <a:pt x="49" y="15"/>
                          <a:pt x="90" y="15"/>
                        </a:cubicBezTo>
                        <a:cubicBezTo>
                          <a:pt x="131" y="15"/>
                          <a:pt x="164" y="49"/>
                          <a:pt x="164" y="90"/>
                        </a:cubicBezTo>
                        <a:cubicBezTo>
                          <a:pt x="164" y="131"/>
                          <a:pt x="131" y="164"/>
                          <a:pt x="90" y="164"/>
                        </a:cubicBezTo>
                        <a:cubicBezTo>
                          <a:pt x="49" y="164"/>
                          <a:pt x="16" y="131"/>
                          <a:pt x="16" y="9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49" name="Freeform 454"/>
                  <p:cNvSpPr>
                    <a:spLocks/>
                  </p:cNvSpPr>
                  <p:nvPr/>
                </p:nvSpPr>
                <p:spPr bwMode="auto">
                  <a:xfrm>
                    <a:off x="3333750" y="4443413"/>
                    <a:ext cx="331788" cy="330200"/>
                  </a:xfrm>
                  <a:custGeom>
                    <a:avLst/>
                    <a:gdLst>
                      <a:gd name="T0" fmla="*/ 181 w 209"/>
                      <a:gd name="T1" fmla="*/ 208 h 208"/>
                      <a:gd name="T2" fmla="*/ 0 w 209"/>
                      <a:gd name="T3" fmla="*/ 26 h 208"/>
                      <a:gd name="T4" fmla="*/ 26 w 209"/>
                      <a:gd name="T5" fmla="*/ 0 h 208"/>
                      <a:gd name="T6" fmla="*/ 209 w 209"/>
                      <a:gd name="T7" fmla="*/ 182 h 208"/>
                      <a:gd name="T8" fmla="*/ 181 w 209"/>
                      <a:gd name="T9" fmla="*/ 208 h 208"/>
                    </a:gdLst>
                    <a:ahLst/>
                    <a:cxnLst>
                      <a:cxn ang="0">
                        <a:pos x="T0" y="T1"/>
                      </a:cxn>
                      <a:cxn ang="0">
                        <a:pos x="T2" y="T3"/>
                      </a:cxn>
                      <a:cxn ang="0">
                        <a:pos x="T4" y="T5"/>
                      </a:cxn>
                      <a:cxn ang="0">
                        <a:pos x="T6" y="T7"/>
                      </a:cxn>
                      <a:cxn ang="0">
                        <a:pos x="T8" y="T9"/>
                      </a:cxn>
                    </a:cxnLst>
                    <a:rect l="0" t="0" r="r" b="b"/>
                    <a:pathLst>
                      <a:path w="209" h="208">
                        <a:moveTo>
                          <a:pt x="181" y="208"/>
                        </a:moveTo>
                        <a:lnTo>
                          <a:pt x="0" y="26"/>
                        </a:lnTo>
                        <a:lnTo>
                          <a:pt x="26" y="0"/>
                        </a:lnTo>
                        <a:lnTo>
                          <a:pt x="209" y="182"/>
                        </a:lnTo>
                        <a:lnTo>
                          <a:pt x="181" y="208"/>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50" name="Freeform 455"/>
                  <p:cNvSpPr>
                    <a:spLocks/>
                  </p:cNvSpPr>
                  <p:nvPr/>
                </p:nvSpPr>
                <p:spPr bwMode="auto">
                  <a:xfrm>
                    <a:off x="2959100" y="3970338"/>
                    <a:ext cx="684213" cy="317500"/>
                  </a:xfrm>
                  <a:custGeom>
                    <a:avLst/>
                    <a:gdLst>
                      <a:gd name="T0" fmla="*/ 2 w 215"/>
                      <a:gd name="T1" fmla="*/ 100 h 100"/>
                      <a:gd name="T2" fmla="*/ 0 w 215"/>
                      <a:gd name="T3" fmla="*/ 97 h 100"/>
                      <a:gd name="T4" fmla="*/ 41 w 215"/>
                      <a:gd name="T5" fmla="*/ 51 h 100"/>
                      <a:gd name="T6" fmla="*/ 42 w 215"/>
                      <a:gd name="T7" fmla="*/ 50 h 100"/>
                      <a:gd name="T8" fmla="*/ 101 w 215"/>
                      <a:gd name="T9" fmla="*/ 50 h 100"/>
                      <a:gd name="T10" fmla="*/ 154 w 215"/>
                      <a:gd name="T11" fmla="*/ 6 h 100"/>
                      <a:gd name="T12" fmla="*/ 155 w 215"/>
                      <a:gd name="T13" fmla="*/ 5 h 100"/>
                      <a:gd name="T14" fmla="*/ 215 w 215"/>
                      <a:gd name="T15" fmla="*/ 0 h 100"/>
                      <a:gd name="T16" fmla="*/ 215 w 215"/>
                      <a:gd name="T17" fmla="*/ 3 h 100"/>
                      <a:gd name="T18" fmla="*/ 156 w 215"/>
                      <a:gd name="T19" fmla="*/ 9 h 100"/>
                      <a:gd name="T20" fmla="*/ 103 w 215"/>
                      <a:gd name="T21" fmla="*/ 53 h 100"/>
                      <a:gd name="T22" fmla="*/ 102 w 215"/>
                      <a:gd name="T23" fmla="*/ 54 h 100"/>
                      <a:gd name="T24" fmla="*/ 43 w 215"/>
                      <a:gd name="T25" fmla="*/ 54 h 100"/>
                      <a:gd name="T26" fmla="*/ 2 w 215"/>
                      <a:gd name="T2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5" h="100">
                        <a:moveTo>
                          <a:pt x="2" y="100"/>
                        </a:moveTo>
                        <a:cubicBezTo>
                          <a:pt x="0" y="97"/>
                          <a:pt x="0" y="97"/>
                          <a:pt x="0" y="97"/>
                        </a:cubicBezTo>
                        <a:cubicBezTo>
                          <a:pt x="41" y="51"/>
                          <a:pt x="41" y="51"/>
                          <a:pt x="41" y="51"/>
                        </a:cubicBezTo>
                        <a:cubicBezTo>
                          <a:pt x="41" y="50"/>
                          <a:pt x="42" y="50"/>
                          <a:pt x="42" y="50"/>
                        </a:cubicBezTo>
                        <a:cubicBezTo>
                          <a:pt x="101" y="50"/>
                          <a:pt x="101" y="50"/>
                          <a:pt x="101" y="50"/>
                        </a:cubicBezTo>
                        <a:cubicBezTo>
                          <a:pt x="154" y="6"/>
                          <a:pt x="154" y="6"/>
                          <a:pt x="154" y="6"/>
                        </a:cubicBezTo>
                        <a:cubicBezTo>
                          <a:pt x="155" y="5"/>
                          <a:pt x="155" y="5"/>
                          <a:pt x="155" y="5"/>
                        </a:cubicBezTo>
                        <a:cubicBezTo>
                          <a:pt x="215" y="0"/>
                          <a:pt x="215" y="0"/>
                          <a:pt x="215" y="0"/>
                        </a:cubicBezTo>
                        <a:cubicBezTo>
                          <a:pt x="215" y="3"/>
                          <a:pt x="215" y="3"/>
                          <a:pt x="215" y="3"/>
                        </a:cubicBezTo>
                        <a:cubicBezTo>
                          <a:pt x="156" y="9"/>
                          <a:pt x="156" y="9"/>
                          <a:pt x="156" y="9"/>
                        </a:cubicBezTo>
                        <a:cubicBezTo>
                          <a:pt x="103" y="53"/>
                          <a:pt x="103" y="53"/>
                          <a:pt x="103" y="53"/>
                        </a:cubicBezTo>
                        <a:cubicBezTo>
                          <a:pt x="102" y="53"/>
                          <a:pt x="102" y="54"/>
                          <a:pt x="102" y="54"/>
                        </a:cubicBezTo>
                        <a:cubicBezTo>
                          <a:pt x="43" y="54"/>
                          <a:pt x="43" y="54"/>
                          <a:pt x="43" y="54"/>
                        </a:cubicBezTo>
                        <a:lnTo>
                          <a:pt x="2" y="100"/>
                        </a:lnTo>
                        <a:close/>
                      </a:path>
                    </a:pathLst>
                  </a:custGeom>
                  <a:solidFill>
                    <a:srgbClr val="3024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51" name="Oval 456"/>
                  <p:cNvSpPr>
                    <a:spLocks noChangeArrowheads="1"/>
                  </p:cNvSpPr>
                  <p:nvPr/>
                </p:nvSpPr>
                <p:spPr bwMode="auto">
                  <a:xfrm>
                    <a:off x="2943225" y="4262438"/>
                    <a:ext cx="38100" cy="41275"/>
                  </a:xfrm>
                  <a:prstGeom prst="ellipse">
                    <a:avLst/>
                  </a:prstGeom>
                  <a:solidFill>
                    <a:srgbClr val="57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52" name="Oval 457"/>
                  <p:cNvSpPr>
                    <a:spLocks noChangeArrowheads="1"/>
                  </p:cNvSpPr>
                  <p:nvPr/>
                </p:nvSpPr>
                <p:spPr bwMode="auto">
                  <a:xfrm>
                    <a:off x="3260725" y="4116388"/>
                    <a:ext cx="41275" cy="38100"/>
                  </a:xfrm>
                  <a:prstGeom prst="ellipse">
                    <a:avLst/>
                  </a:prstGeom>
                  <a:solidFill>
                    <a:srgbClr val="57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53" name="Oval 458"/>
                  <p:cNvSpPr>
                    <a:spLocks noChangeArrowheads="1"/>
                  </p:cNvSpPr>
                  <p:nvPr/>
                </p:nvSpPr>
                <p:spPr bwMode="auto">
                  <a:xfrm>
                    <a:off x="3624263" y="3954463"/>
                    <a:ext cx="38100" cy="41275"/>
                  </a:xfrm>
                  <a:prstGeom prst="ellipse">
                    <a:avLst/>
                  </a:prstGeom>
                  <a:solidFill>
                    <a:srgbClr val="57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54" name="Oval 459"/>
                  <p:cNvSpPr>
                    <a:spLocks noChangeArrowheads="1"/>
                  </p:cNvSpPr>
                  <p:nvPr/>
                </p:nvSpPr>
                <p:spPr bwMode="auto">
                  <a:xfrm>
                    <a:off x="3060700" y="4103688"/>
                    <a:ext cx="63500" cy="63500"/>
                  </a:xfrm>
                  <a:prstGeom prst="ellipse">
                    <a:avLst/>
                  </a:prstGeom>
                  <a:solidFill>
                    <a:srgbClr val="57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55" name="Oval 460"/>
                  <p:cNvSpPr>
                    <a:spLocks noChangeArrowheads="1"/>
                  </p:cNvSpPr>
                  <p:nvPr/>
                </p:nvSpPr>
                <p:spPr bwMode="auto">
                  <a:xfrm>
                    <a:off x="3419475" y="3960813"/>
                    <a:ext cx="63500" cy="63500"/>
                  </a:xfrm>
                  <a:prstGeom prst="ellipse">
                    <a:avLst/>
                  </a:prstGeom>
                  <a:solidFill>
                    <a:srgbClr val="57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56" name="Rectangle 461"/>
                  <p:cNvSpPr>
                    <a:spLocks noChangeArrowheads="1"/>
                  </p:cNvSpPr>
                  <p:nvPr/>
                </p:nvSpPr>
                <p:spPr bwMode="auto">
                  <a:xfrm>
                    <a:off x="2813050" y="4646613"/>
                    <a:ext cx="44450" cy="41275"/>
                  </a:xfrm>
                  <a:prstGeom prst="rect">
                    <a:avLst/>
                  </a:prstGeom>
                  <a:solidFill>
                    <a:srgbClr val="0E97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57" name="Rectangle 462"/>
                  <p:cNvSpPr>
                    <a:spLocks noChangeArrowheads="1"/>
                  </p:cNvSpPr>
                  <p:nvPr/>
                </p:nvSpPr>
                <p:spPr bwMode="auto">
                  <a:xfrm>
                    <a:off x="2813050" y="4560888"/>
                    <a:ext cx="44450" cy="41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58" name="Rectangle 463"/>
                  <p:cNvSpPr>
                    <a:spLocks noChangeArrowheads="1"/>
                  </p:cNvSpPr>
                  <p:nvPr/>
                </p:nvSpPr>
                <p:spPr bwMode="auto">
                  <a:xfrm>
                    <a:off x="2898775" y="4554538"/>
                    <a:ext cx="342900" cy="12700"/>
                  </a:xfrm>
                  <a:prstGeom prst="rect">
                    <a:avLst/>
                  </a:prstGeom>
                  <a:solidFill>
                    <a:srgbClr val="30241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59" name="Rectangle 464"/>
                  <p:cNvSpPr>
                    <a:spLocks noChangeArrowheads="1"/>
                  </p:cNvSpPr>
                  <p:nvPr/>
                </p:nvSpPr>
                <p:spPr bwMode="auto">
                  <a:xfrm>
                    <a:off x="2898775" y="4598988"/>
                    <a:ext cx="212725" cy="9525"/>
                  </a:xfrm>
                  <a:prstGeom prst="rect">
                    <a:avLst/>
                  </a:prstGeom>
                  <a:solidFill>
                    <a:srgbClr val="30241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60" name="Rectangle 465"/>
                  <p:cNvSpPr>
                    <a:spLocks noChangeArrowheads="1"/>
                  </p:cNvSpPr>
                  <p:nvPr/>
                </p:nvSpPr>
                <p:spPr bwMode="auto">
                  <a:xfrm>
                    <a:off x="2898775" y="4640263"/>
                    <a:ext cx="342900" cy="9525"/>
                  </a:xfrm>
                  <a:prstGeom prst="rect">
                    <a:avLst/>
                  </a:prstGeom>
                  <a:solidFill>
                    <a:srgbClr val="30241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61" name="Rectangle 466"/>
                  <p:cNvSpPr>
                    <a:spLocks noChangeArrowheads="1"/>
                  </p:cNvSpPr>
                  <p:nvPr/>
                </p:nvSpPr>
                <p:spPr bwMode="auto">
                  <a:xfrm>
                    <a:off x="2898775" y="4681538"/>
                    <a:ext cx="212725" cy="12700"/>
                  </a:xfrm>
                  <a:prstGeom prst="rect">
                    <a:avLst/>
                  </a:prstGeom>
                  <a:solidFill>
                    <a:srgbClr val="30241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62" name="Rectangle 467"/>
                  <p:cNvSpPr>
                    <a:spLocks noChangeArrowheads="1"/>
                  </p:cNvSpPr>
                  <p:nvPr/>
                </p:nvSpPr>
                <p:spPr bwMode="auto">
                  <a:xfrm>
                    <a:off x="3365500" y="4735513"/>
                    <a:ext cx="44450" cy="381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63" name="Rectangle 468"/>
                  <p:cNvSpPr>
                    <a:spLocks noChangeArrowheads="1"/>
                  </p:cNvSpPr>
                  <p:nvPr/>
                </p:nvSpPr>
                <p:spPr bwMode="auto">
                  <a:xfrm>
                    <a:off x="3451225" y="4675188"/>
                    <a:ext cx="44450" cy="984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grpSp>
          </p:grpSp>
          <p:grpSp>
            <p:nvGrpSpPr>
              <p:cNvPr id="560" name="Group 559"/>
              <p:cNvGrpSpPr/>
              <p:nvPr/>
            </p:nvGrpSpPr>
            <p:grpSpPr>
              <a:xfrm>
                <a:off x="1125970" y="3551460"/>
                <a:ext cx="751133" cy="751133"/>
                <a:chOff x="4581490" y="3344020"/>
                <a:chExt cx="751133" cy="751133"/>
              </a:xfrm>
            </p:grpSpPr>
            <p:sp>
              <p:nvSpPr>
                <p:cNvPr id="815" name="Rounded Rectangle 814"/>
                <p:cNvSpPr/>
                <p:nvPr/>
              </p:nvSpPr>
              <p:spPr bwMode="auto">
                <a:xfrm>
                  <a:off x="4581490" y="3344020"/>
                  <a:ext cx="751133" cy="751133"/>
                </a:xfrm>
                <a:prstGeom prst="roundRect">
                  <a:avLst>
                    <a:gd name="adj" fmla="val 10961"/>
                  </a:avLst>
                </a:prstGeom>
                <a:solidFill>
                  <a:srgbClr val="666666"/>
                </a:solidFill>
                <a:ln w="12700" cap="flat" cmpd="sng" algn="ctr">
                  <a:noFill/>
                  <a:prstDash val="solid"/>
                  <a:round/>
                  <a:headEnd type="none" w="med" len="med"/>
                  <a:tailEnd type="none" w="med" len="med"/>
                </a:ln>
                <a:effectLst/>
              </p:spPr>
              <p:txBody>
                <a:bodyPr vert="horz" wrap="square" lIns="18288" tIns="18288" rIns="18288" bIns="18288" numCol="1" rtlCol="0" anchor="b" anchorCtr="0" compatLnSpc="1">
                  <a:prstTxWarp prst="textNoShape">
                    <a:avLst/>
                  </a:prstTxWarp>
                  <a:noAutofit/>
                </a:bodyPr>
                <a:lstStyle/>
                <a:p>
                  <a:pPr algn="ctr">
                    <a:defRPr/>
                  </a:pPr>
                  <a:r>
                    <a:rPr lang="en-US" sz="700" kern="0" dirty="0">
                      <a:solidFill>
                        <a:srgbClr val="FFFFFF"/>
                      </a:solidFill>
                      <a:latin typeface="Calibri"/>
                    </a:rPr>
                    <a:t>ROBOT</a:t>
                  </a:r>
                  <a:r>
                    <a:rPr lang="tr-TR" sz="700" kern="0" dirty="0">
                      <a:solidFill>
                        <a:srgbClr val="FFFFFF"/>
                      </a:solidFill>
                      <a:latin typeface="Calibri"/>
                    </a:rPr>
                    <a:t>İK</a:t>
                  </a:r>
                  <a:r>
                    <a:rPr lang="en-US" sz="700" kern="0" dirty="0">
                      <a:solidFill>
                        <a:srgbClr val="FFFFFF"/>
                      </a:solidFill>
                      <a:latin typeface="Calibri"/>
                    </a:rPr>
                    <a:t> </a:t>
                  </a:r>
                  <a:r>
                    <a:rPr lang="tr-TR" sz="700" kern="0" dirty="0">
                      <a:solidFill>
                        <a:srgbClr val="FFFFFF"/>
                      </a:solidFill>
                      <a:latin typeface="Calibri"/>
                    </a:rPr>
                    <a:t>SÜREÇ</a:t>
                  </a:r>
                  <a:endParaRPr lang="en-US" sz="700" kern="0" dirty="0">
                    <a:solidFill>
                      <a:srgbClr val="FFFFFF"/>
                    </a:solidFill>
                    <a:latin typeface="Calibri"/>
                  </a:endParaRPr>
                </a:p>
              </p:txBody>
            </p:sp>
            <p:grpSp>
              <p:nvGrpSpPr>
                <p:cNvPr id="816" name="Group 815"/>
                <p:cNvGrpSpPr/>
                <p:nvPr/>
              </p:nvGrpSpPr>
              <p:grpSpPr>
                <a:xfrm>
                  <a:off x="4820795" y="3450470"/>
                  <a:ext cx="272522" cy="272053"/>
                  <a:chOff x="158750" y="1404937"/>
                  <a:chExt cx="922338" cy="920750"/>
                </a:xfrm>
                <a:solidFill>
                  <a:srgbClr val="FFFFFF"/>
                </a:solidFill>
              </p:grpSpPr>
              <p:sp>
                <p:nvSpPr>
                  <p:cNvPr id="817" name="Freeform 225"/>
                  <p:cNvSpPr>
                    <a:spLocks/>
                  </p:cNvSpPr>
                  <p:nvPr/>
                </p:nvSpPr>
                <p:spPr bwMode="auto">
                  <a:xfrm>
                    <a:off x="158750" y="1512887"/>
                    <a:ext cx="536575" cy="812800"/>
                  </a:xfrm>
                  <a:custGeom>
                    <a:avLst/>
                    <a:gdLst>
                      <a:gd name="T0" fmla="*/ 10 w 169"/>
                      <a:gd name="T1" fmla="*/ 0 h 256"/>
                      <a:gd name="T2" fmla="*/ 0 w 169"/>
                      <a:gd name="T3" fmla="*/ 0 h 256"/>
                      <a:gd name="T4" fmla="*/ 0 w 169"/>
                      <a:gd name="T5" fmla="*/ 251 h 256"/>
                      <a:gd name="T6" fmla="*/ 5 w 169"/>
                      <a:gd name="T7" fmla="*/ 256 h 256"/>
                      <a:gd name="T8" fmla="*/ 169 w 169"/>
                      <a:gd name="T9" fmla="*/ 256 h 256"/>
                      <a:gd name="T10" fmla="*/ 169 w 169"/>
                      <a:gd name="T11" fmla="*/ 246 h 256"/>
                      <a:gd name="T12" fmla="*/ 10 w 169"/>
                      <a:gd name="T13" fmla="*/ 246 h 256"/>
                      <a:gd name="T14" fmla="*/ 10 w 169"/>
                      <a:gd name="T15" fmla="*/ 0 h 2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256">
                        <a:moveTo>
                          <a:pt x="10" y="0"/>
                        </a:moveTo>
                        <a:cubicBezTo>
                          <a:pt x="0" y="0"/>
                          <a:pt x="0" y="0"/>
                          <a:pt x="0" y="0"/>
                        </a:cubicBezTo>
                        <a:cubicBezTo>
                          <a:pt x="0" y="251"/>
                          <a:pt x="0" y="251"/>
                          <a:pt x="0" y="251"/>
                        </a:cubicBezTo>
                        <a:cubicBezTo>
                          <a:pt x="0" y="254"/>
                          <a:pt x="2" y="256"/>
                          <a:pt x="5" y="256"/>
                        </a:cubicBezTo>
                        <a:cubicBezTo>
                          <a:pt x="169" y="256"/>
                          <a:pt x="169" y="256"/>
                          <a:pt x="169" y="256"/>
                        </a:cubicBezTo>
                        <a:cubicBezTo>
                          <a:pt x="169" y="246"/>
                          <a:pt x="169" y="246"/>
                          <a:pt x="169" y="246"/>
                        </a:cubicBezTo>
                        <a:cubicBezTo>
                          <a:pt x="10" y="246"/>
                          <a:pt x="10" y="246"/>
                          <a:pt x="10" y="246"/>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18" name="Freeform 226"/>
                  <p:cNvSpPr>
                    <a:spLocks noEditPoints="1"/>
                  </p:cNvSpPr>
                  <p:nvPr/>
                </p:nvSpPr>
                <p:spPr bwMode="auto">
                  <a:xfrm>
                    <a:off x="219075" y="1404937"/>
                    <a:ext cx="677863" cy="860425"/>
                  </a:xfrm>
                  <a:custGeom>
                    <a:avLst/>
                    <a:gdLst>
                      <a:gd name="T0" fmla="*/ 10 w 213"/>
                      <a:gd name="T1" fmla="*/ 10 h 271"/>
                      <a:gd name="T2" fmla="*/ 160 w 213"/>
                      <a:gd name="T3" fmla="*/ 10 h 271"/>
                      <a:gd name="T4" fmla="*/ 160 w 213"/>
                      <a:gd name="T5" fmla="*/ 49 h 271"/>
                      <a:gd name="T6" fmla="*/ 164 w 213"/>
                      <a:gd name="T7" fmla="*/ 53 h 271"/>
                      <a:gd name="T8" fmla="*/ 203 w 213"/>
                      <a:gd name="T9" fmla="*/ 53 h 271"/>
                      <a:gd name="T10" fmla="*/ 203 w 213"/>
                      <a:gd name="T11" fmla="*/ 68 h 271"/>
                      <a:gd name="T12" fmla="*/ 213 w 213"/>
                      <a:gd name="T13" fmla="*/ 68 h 271"/>
                      <a:gd name="T14" fmla="*/ 213 w 213"/>
                      <a:gd name="T15" fmla="*/ 49 h 271"/>
                      <a:gd name="T16" fmla="*/ 212 w 213"/>
                      <a:gd name="T17" fmla="*/ 47 h 271"/>
                      <a:gd name="T18" fmla="*/ 212 w 213"/>
                      <a:gd name="T19" fmla="*/ 47 h 271"/>
                      <a:gd name="T20" fmla="*/ 211 w 213"/>
                      <a:gd name="T21" fmla="*/ 45 h 271"/>
                      <a:gd name="T22" fmla="*/ 168 w 213"/>
                      <a:gd name="T23" fmla="*/ 2 h 271"/>
                      <a:gd name="T24" fmla="*/ 166 w 213"/>
                      <a:gd name="T25" fmla="*/ 1 h 271"/>
                      <a:gd name="T26" fmla="*/ 166 w 213"/>
                      <a:gd name="T27" fmla="*/ 1 h 271"/>
                      <a:gd name="T28" fmla="*/ 164 w 213"/>
                      <a:gd name="T29" fmla="*/ 0 h 271"/>
                      <a:gd name="T30" fmla="*/ 5 w 213"/>
                      <a:gd name="T31" fmla="*/ 0 h 271"/>
                      <a:gd name="T32" fmla="*/ 0 w 213"/>
                      <a:gd name="T33" fmla="*/ 5 h 271"/>
                      <a:gd name="T34" fmla="*/ 0 w 213"/>
                      <a:gd name="T35" fmla="*/ 266 h 271"/>
                      <a:gd name="T36" fmla="*/ 5 w 213"/>
                      <a:gd name="T37" fmla="*/ 271 h 271"/>
                      <a:gd name="T38" fmla="*/ 169 w 213"/>
                      <a:gd name="T39" fmla="*/ 271 h 271"/>
                      <a:gd name="T40" fmla="*/ 169 w 213"/>
                      <a:gd name="T41" fmla="*/ 261 h 271"/>
                      <a:gd name="T42" fmla="*/ 10 w 213"/>
                      <a:gd name="T43" fmla="*/ 261 h 271"/>
                      <a:gd name="T44" fmla="*/ 10 w 213"/>
                      <a:gd name="T45" fmla="*/ 10 h 271"/>
                      <a:gd name="T46" fmla="*/ 196 w 213"/>
                      <a:gd name="T47" fmla="*/ 44 h 271"/>
                      <a:gd name="T48" fmla="*/ 169 w 213"/>
                      <a:gd name="T49" fmla="*/ 44 h 271"/>
                      <a:gd name="T50" fmla="*/ 169 w 213"/>
                      <a:gd name="T51" fmla="*/ 17 h 271"/>
                      <a:gd name="T52" fmla="*/ 196 w 213"/>
                      <a:gd name="T53" fmla="*/ 44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3" h="271">
                        <a:moveTo>
                          <a:pt x="10" y="10"/>
                        </a:moveTo>
                        <a:cubicBezTo>
                          <a:pt x="160" y="10"/>
                          <a:pt x="160" y="10"/>
                          <a:pt x="160" y="10"/>
                        </a:cubicBezTo>
                        <a:cubicBezTo>
                          <a:pt x="160" y="49"/>
                          <a:pt x="160" y="49"/>
                          <a:pt x="160" y="49"/>
                        </a:cubicBezTo>
                        <a:cubicBezTo>
                          <a:pt x="160" y="51"/>
                          <a:pt x="161" y="53"/>
                          <a:pt x="164" y="53"/>
                        </a:cubicBezTo>
                        <a:cubicBezTo>
                          <a:pt x="203" y="53"/>
                          <a:pt x="203" y="53"/>
                          <a:pt x="203" y="53"/>
                        </a:cubicBezTo>
                        <a:cubicBezTo>
                          <a:pt x="203" y="68"/>
                          <a:pt x="203" y="68"/>
                          <a:pt x="203" y="68"/>
                        </a:cubicBezTo>
                        <a:cubicBezTo>
                          <a:pt x="213" y="68"/>
                          <a:pt x="213" y="68"/>
                          <a:pt x="213" y="68"/>
                        </a:cubicBezTo>
                        <a:cubicBezTo>
                          <a:pt x="213" y="49"/>
                          <a:pt x="213" y="49"/>
                          <a:pt x="213" y="49"/>
                        </a:cubicBezTo>
                        <a:cubicBezTo>
                          <a:pt x="213" y="48"/>
                          <a:pt x="213" y="48"/>
                          <a:pt x="212" y="47"/>
                        </a:cubicBezTo>
                        <a:cubicBezTo>
                          <a:pt x="212" y="47"/>
                          <a:pt x="212" y="47"/>
                          <a:pt x="212" y="47"/>
                        </a:cubicBezTo>
                        <a:cubicBezTo>
                          <a:pt x="212" y="46"/>
                          <a:pt x="212" y="46"/>
                          <a:pt x="211" y="45"/>
                        </a:cubicBezTo>
                        <a:cubicBezTo>
                          <a:pt x="168" y="2"/>
                          <a:pt x="168" y="2"/>
                          <a:pt x="168" y="2"/>
                        </a:cubicBezTo>
                        <a:cubicBezTo>
                          <a:pt x="167" y="1"/>
                          <a:pt x="167" y="1"/>
                          <a:pt x="166" y="1"/>
                        </a:cubicBezTo>
                        <a:cubicBezTo>
                          <a:pt x="166" y="1"/>
                          <a:pt x="166" y="1"/>
                          <a:pt x="166" y="1"/>
                        </a:cubicBezTo>
                        <a:cubicBezTo>
                          <a:pt x="165" y="1"/>
                          <a:pt x="165" y="0"/>
                          <a:pt x="164" y="0"/>
                        </a:cubicBezTo>
                        <a:cubicBezTo>
                          <a:pt x="5" y="0"/>
                          <a:pt x="5" y="0"/>
                          <a:pt x="5" y="0"/>
                        </a:cubicBezTo>
                        <a:cubicBezTo>
                          <a:pt x="2" y="0"/>
                          <a:pt x="0" y="2"/>
                          <a:pt x="0" y="5"/>
                        </a:cubicBezTo>
                        <a:cubicBezTo>
                          <a:pt x="0" y="266"/>
                          <a:pt x="0" y="266"/>
                          <a:pt x="0" y="266"/>
                        </a:cubicBezTo>
                        <a:cubicBezTo>
                          <a:pt x="0" y="269"/>
                          <a:pt x="2" y="271"/>
                          <a:pt x="5" y="271"/>
                        </a:cubicBezTo>
                        <a:cubicBezTo>
                          <a:pt x="169" y="271"/>
                          <a:pt x="169" y="271"/>
                          <a:pt x="169" y="271"/>
                        </a:cubicBezTo>
                        <a:cubicBezTo>
                          <a:pt x="169" y="261"/>
                          <a:pt x="169" y="261"/>
                          <a:pt x="169" y="261"/>
                        </a:cubicBezTo>
                        <a:cubicBezTo>
                          <a:pt x="10" y="261"/>
                          <a:pt x="10" y="261"/>
                          <a:pt x="10" y="261"/>
                        </a:cubicBezTo>
                        <a:lnTo>
                          <a:pt x="10" y="10"/>
                        </a:lnTo>
                        <a:close/>
                        <a:moveTo>
                          <a:pt x="196" y="44"/>
                        </a:moveTo>
                        <a:cubicBezTo>
                          <a:pt x="169" y="44"/>
                          <a:pt x="169" y="44"/>
                          <a:pt x="169" y="44"/>
                        </a:cubicBezTo>
                        <a:cubicBezTo>
                          <a:pt x="169" y="17"/>
                          <a:pt x="169" y="17"/>
                          <a:pt x="169" y="17"/>
                        </a:cubicBezTo>
                        <a:lnTo>
                          <a:pt x="196"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19" name="Rectangle 227"/>
                  <p:cNvSpPr>
                    <a:spLocks noChangeArrowheads="1"/>
                  </p:cNvSpPr>
                  <p:nvPr/>
                </p:nvSpPr>
                <p:spPr bwMode="auto">
                  <a:xfrm>
                    <a:off x="511175" y="1820862"/>
                    <a:ext cx="317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20" name="Rectangle 228"/>
                  <p:cNvSpPr>
                    <a:spLocks noChangeArrowheads="1"/>
                  </p:cNvSpPr>
                  <p:nvPr/>
                </p:nvSpPr>
                <p:spPr bwMode="auto">
                  <a:xfrm>
                    <a:off x="450850" y="1820862"/>
                    <a:ext cx="2857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21" name="Rectangle 229"/>
                  <p:cNvSpPr>
                    <a:spLocks noChangeArrowheads="1"/>
                  </p:cNvSpPr>
                  <p:nvPr/>
                </p:nvSpPr>
                <p:spPr bwMode="auto">
                  <a:xfrm>
                    <a:off x="387350" y="1820862"/>
                    <a:ext cx="317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22" name="Rectangle 230"/>
                  <p:cNvSpPr>
                    <a:spLocks noChangeArrowheads="1"/>
                  </p:cNvSpPr>
                  <p:nvPr/>
                </p:nvSpPr>
                <p:spPr bwMode="auto">
                  <a:xfrm>
                    <a:off x="327025" y="1820862"/>
                    <a:ext cx="317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23" name="Rectangle 231"/>
                  <p:cNvSpPr>
                    <a:spLocks noChangeArrowheads="1"/>
                  </p:cNvSpPr>
                  <p:nvPr/>
                </p:nvSpPr>
                <p:spPr bwMode="auto">
                  <a:xfrm>
                    <a:off x="571500" y="1820862"/>
                    <a:ext cx="317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24" name="Rectangle 232"/>
                  <p:cNvSpPr>
                    <a:spLocks noChangeArrowheads="1"/>
                  </p:cNvSpPr>
                  <p:nvPr/>
                </p:nvSpPr>
                <p:spPr bwMode="auto">
                  <a:xfrm>
                    <a:off x="295275" y="1481137"/>
                    <a:ext cx="31750"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25" name="Rectangle 233"/>
                  <p:cNvSpPr>
                    <a:spLocks noChangeArrowheads="1"/>
                  </p:cNvSpPr>
                  <p:nvPr/>
                </p:nvSpPr>
                <p:spPr bwMode="auto">
                  <a:xfrm>
                    <a:off x="358775" y="1481137"/>
                    <a:ext cx="2857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26" name="Rectangle 234"/>
                  <p:cNvSpPr>
                    <a:spLocks noChangeArrowheads="1"/>
                  </p:cNvSpPr>
                  <p:nvPr/>
                </p:nvSpPr>
                <p:spPr bwMode="auto">
                  <a:xfrm>
                    <a:off x="358775" y="1544637"/>
                    <a:ext cx="2857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27" name="Rectangle 235"/>
                  <p:cNvSpPr>
                    <a:spLocks noChangeArrowheads="1"/>
                  </p:cNvSpPr>
                  <p:nvPr/>
                </p:nvSpPr>
                <p:spPr bwMode="auto">
                  <a:xfrm>
                    <a:off x="295275" y="1544637"/>
                    <a:ext cx="317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28" name="Rectangle 236"/>
                  <p:cNvSpPr>
                    <a:spLocks noChangeArrowheads="1"/>
                  </p:cNvSpPr>
                  <p:nvPr/>
                </p:nvSpPr>
                <p:spPr bwMode="auto">
                  <a:xfrm>
                    <a:off x="419100" y="1481137"/>
                    <a:ext cx="1238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29" name="Rectangle 237"/>
                  <p:cNvSpPr>
                    <a:spLocks noChangeArrowheads="1"/>
                  </p:cNvSpPr>
                  <p:nvPr/>
                </p:nvSpPr>
                <p:spPr bwMode="auto">
                  <a:xfrm>
                    <a:off x="419100" y="1544637"/>
                    <a:ext cx="12382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30" name="Rectangle 238"/>
                  <p:cNvSpPr>
                    <a:spLocks noChangeArrowheads="1"/>
                  </p:cNvSpPr>
                  <p:nvPr/>
                </p:nvSpPr>
                <p:spPr bwMode="auto">
                  <a:xfrm>
                    <a:off x="295275" y="1652587"/>
                    <a:ext cx="4000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31" name="Rectangle 239"/>
                  <p:cNvSpPr>
                    <a:spLocks noChangeArrowheads="1"/>
                  </p:cNvSpPr>
                  <p:nvPr/>
                </p:nvSpPr>
                <p:spPr bwMode="auto">
                  <a:xfrm>
                    <a:off x="295275" y="1728787"/>
                    <a:ext cx="525463"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32" name="Rectangle 240"/>
                  <p:cNvSpPr>
                    <a:spLocks noChangeArrowheads="1"/>
                  </p:cNvSpPr>
                  <p:nvPr/>
                </p:nvSpPr>
                <p:spPr bwMode="auto">
                  <a:xfrm>
                    <a:off x="295275" y="1912937"/>
                    <a:ext cx="525463"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33" name="Rectangle 241"/>
                  <p:cNvSpPr>
                    <a:spLocks noChangeArrowheads="1"/>
                  </p:cNvSpPr>
                  <p:nvPr/>
                </p:nvSpPr>
                <p:spPr bwMode="auto">
                  <a:xfrm>
                    <a:off x="295275" y="1989137"/>
                    <a:ext cx="525463"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34" name="Rectangle 242"/>
                  <p:cNvSpPr>
                    <a:spLocks noChangeArrowheads="1"/>
                  </p:cNvSpPr>
                  <p:nvPr/>
                </p:nvSpPr>
                <p:spPr bwMode="auto">
                  <a:xfrm>
                    <a:off x="295275" y="2065337"/>
                    <a:ext cx="33972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35" name="Rectangle 243"/>
                  <p:cNvSpPr>
                    <a:spLocks noChangeArrowheads="1"/>
                  </p:cNvSpPr>
                  <p:nvPr/>
                </p:nvSpPr>
                <p:spPr bwMode="auto">
                  <a:xfrm>
                    <a:off x="663575" y="2065337"/>
                    <a:ext cx="31750"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36" name="Rectangle 244"/>
                  <p:cNvSpPr>
                    <a:spLocks noChangeArrowheads="1"/>
                  </p:cNvSpPr>
                  <p:nvPr/>
                </p:nvSpPr>
                <p:spPr bwMode="auto">
                  <a:xfrm>
                    <a:off x="728663" y="2065337"/>
                    <a:ext cx="28575"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37" name="Rectangle 245"/>
                  <p:cNvSpPr>
                    <a:spLocks noChangeArrowheads="1"/>
                  </p:cNvSpPr>
                  <p:nvPr/>
                </p:nvSpPr>
                <p:spPr bwMode="auto">
                  <a:xfrm>
                    <a:off x="788988" y="2065337"/>
                    <a:ext cx="31750"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38" name="Freeform 246"/>
                  <p:cNvSpPr>
                    <a:spLocks noEditPoints="1"/>
                  </p:cNvSpPr>
                  <p:nvPr/>
                </p:nvSpPr>
                <p:spPr bwMode="auto">
                  <a:xfrm>
                    <a:off x="635000" y="1468437"/>
                    <a:ext cx="446088" cy="796925"/>
                  </a:xfrm>
                  <a:custGeom>
                    <a:avLst/>
                    <a:gdLst>
                      <a:gd name="T0" fmla="*/ 120 w 140"/>
                      <a:gd name="T1" fmla="*/ 140 h 251"/>
                      <a:gd name="T2" fmla="*/ 101 w 140"/>
                      <a:gd name="T3" fmla="*/ 154 h 251"/>
                      <a:gd name="T4" fmla="*/ 82 w 140"/>
                      <a:gd name="T5" fmla="*/ 154 h 251"/>
                      <a:gd name="T6" fmla="*/ 82 w 140"/>
                      <a:gd name="T7" fmla="*/ 120 h 251"/>
                      <a:gd name="T8" fmla="*/ 111 w 140"/>
                      <a:gd name="T9" fmla="*/ 120 h 251"/>
                      <a:gd name="T10" fmla="*/ 115 w 140"/>
                      <a:gd name="T11" fmla="*/ 115 h 251"/>
                      <a:gd name="T12" fmla="*/ 115 w 140"/>
                      <a:gd name="T13" fmla="*/ 38 h 251"/>
                      <a:gd name="T14" fmla="*/ 130 w 140"/>
                      <a:gd name="T15" fmla="*/ 19 h 251"/>
                      <a:gd name="T16" fmla="*/ 111 w 140"/>
                      <a:gd name="T17" fmla="*/ 0 h 251"/>
                      <a:gd name="T18" fmla="*/ 91 w 140"/>
                      <a:gd name="T19" fmla="*/ 19 h 251"/>
                      <a:gd name="T20" fmla="*/ 106 w 140"/>
                      <a:gd name="T21" fmla="*/ 38 h 251"/>
                      <a:gd name="T22" fmla="*/ 106 w 140"/>
                      <a:gd name="T23" fmla="*/ 111 h 251"/>
                      <a:gd name="T24" fmla="*/ 0 w 140"/>
                      <a:gd name="T25" fmla="*/ 111 h 251"/>
                      <a:gd name="T26" fmla="*/ 0 w 140"/>
                      <a:gd name="T27" fmla="*/ 120 h 251"/>
                      <a:gd name="T28" fmla="*/ 72 w 140"/>
                      <a:gd name="T29" fmla="*/ 120 h 251"/>
                      <a:gd name="T30" fmla="*/ 72 w 140"/>
                      <a:gd name="T31" fmla="*/ 212 h 251"/>
                      <a:gd name="T32" fmla="*/ 58 w 140"/>
                      <a:gd name="T33" fmla="*/ 231 h 251"/>
                      <a:gd name="T34" fmla="*/ 77 w 140"/>
                      <a:gd name="T35" fmla="*/ 251 h 251"/>
                      <a:gd name="T36" fmla="*/ 96 w 140"/>
                      <a:gd name="T37" fmla="*/ 231 h 251"/>
                      <a:gd name="T38" fmla="*/ 82 w 140"/>
                      <a:gd name="T39" fmla="*/ 212 h 251"/>
                      <a:gd name="T40" fmla="*/ 82 w 140"/>
                      <a:gd name="T41" fmla="*/ 164 h 251"/>
                      <a:gd name="T42" fmla="*/ 101 w 140"/>
                      <a:gd name="T43" fmla="*/ 164 h 251"/>
                      <a:gd name="T44" fmla="*/ 120 w 140"/>
                      <a:gd name="T45" fmla="*/ 178 h 251"/>
                      <a:gd name="T46" fmla="*/ 140 w 140"/>
                      <a:gd name="T47" fmla="*/ 159 h 251"/>
                      <a:gd name="T48" fmla="*/ 120 w 140"/>
                      <a:gd name="T49" fmla="*/ 140 h 251"/>
                      <a:gd name="T50" fmla="*/ 101 w 140"/>
                      <a:gd name="T51" fmla="*/ 19 h 251"/>
                      <a:gd name="T52" fmla="*/ 111 w 140"/>
                      <a:gd name="T53" fmla="*/ 9 h 251"/>
                      <a:gd name="T54" fmla="*/ 120 w 140"/>
                      <a:gd name="T55" fmla="*/ 19 h 251"/>
                      <a:gd name="T56" fmla="*/ 111 w 140"/>
                      <a:gd name="T57" fmla="*/ 29 h 251"/>
                      <a:gd name="T58" fmla="*/ 101 w 140"/>
                      <a:gd name="T59" fmla="*/ 19 h 251"/>
                      <a:gd name="T60" fmla="*/ 86 w 140"/>
                      <a:gd name="T61" fmla="*/ 231 h 251"/>
                      <a:gd name="T62" fmla="*/ 77 w 140"/>
                      <a:gd name="T63" fmla="*/ 241 h 251"/>
                      <a:gd name="T64" fmla="*/ 67 w 140"/>
                      <a:gd name="T65" fmla="*/ 231 h 251"/>
                      <a:gd name="T66" fmla="*/ 77 w 140"/>
                      <a:gd name="T67" fmla="*/ 222 h 251"/>
                      <a:gd name="T68" fmla="*/ 86 w 140"/>
                      <a:gd name="T69" fmla="*/ 231 h 251"/>
                      <a:gd name="T70" fmla="*/ 120 w 140"/>
                      <a:gd name="T71" fmla="*/ 169 h 251"/>
                      <a:gd name="T72" fmla="*/ 111 w 140"/>
                      <a:gd name="T73" fmla="*/ 159 h 251"/>
                      <a:gd name="T74" fmla="*/ 120 w 140"/>
                      <a:gd name="T75" fmla="*/ 149 h 251"/>
                      <a:gd name="T76" fmla="*/ 130 w 140"/>
                      <a:gd name="T77" fmla="*/ 159 h 251"/>
                      <a:gd name="T78" fmla="*/ 120 w 140"/>
                      <a:gd name="T79" fmla="*/ 169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251">
                        <a:moveTo>
                          <a:pt x="120" y="140"/>
                        </a:moveTo>
                        <a:cubicBezTo>
                          <a:pt x="111" y="140"/>
                          <a:pt x="104" y="146"/>
                          <a:pt x="101" y="154"/>
                        </a:cubicBezTo>
                        <a:cubicBezTo>
                          <a:pt x="82" y="154"/>
                          <a:pt x="82" y="154"/>
                          <a:pt x="82" y="154"/>
                        </a:cubicBezTo>
                        <a:cubicBezTo>
                          <a:pt x="82" y="120"/>
                          <a:pt x="82" y="120"/>
                          <a:pt x="82" y="120"/>
                        </a:cubicBezTo>
                        <a:cubicBezTo>
                          <a:pt x="111" y="120"/>
                          <a:pt x="111" y="120"/>
                          <a:pt x="111" y="120"/>
                        </a:cubicBezTo>
                        <a:cubicBezTo>
                          <a:pt x="114" y="120"/>
                          <a:pt x="115" y="118"/>
                          <a:pt x="115" y="115"/>
                        </a:cubicBezTo>
                        <a:cubicBezTo>
                          <a:pt x="115" y="38"/>
                          <a:pt x="115" y="38"/>
                          <a:pt x="115" y="38"/>
                        </a:cubicBezTo>
                        <a:cubicBezTo>
                          <a:pt x="124" y="36"/>
                          <a:pt x="130" y="28"/>
                          <a:pt x="130" y="19"/>
                        </a:cubicBezTo>
                        <a:cubicBezTo>
                          <a:pt x="130" y="8"/>
                          <a:pt x="121" y="0"/>
                          <a:pt x="111" y="0"/>
                        </a:cubicBezTo>
                        <a:cubicBezTo>
                          <a:pt x="100" y="0"/>
                          <a:pt x="91" y="8"/>
                          <a:pt x="91" y="19"/>
                        </a:cubicBezTo>
                        <a:cubicBezTo>
                          <a:pt x="91" y="28"/>
                          <a:pt x="98" y="35"/>
                          <a:pt x="106" y="38"/>
                        </a:cubicBezTo>
                        <a:cubicBezTo>
                          <a:pt x="106" y="111"/>
                          <a:pt x="106" y="111"/>
                          <a:pt x="106" y="111"/>
                        </a:cubicBezTo>
                        <a:cubicBezTo>
                          <a:pt x="0" y="111"/>
                          <a:pt x="0" y="111"/>
                          <a:pt x="0" y="111"/>
                        </a:cubicBezTo>
                        <a:cubicBezTo>
                          <a:pt x="0" y="120"/>
                          <a:pt x="0" y="120"/>
                          <a:pt x="0" y="120"/>
                        </a:cubicBezTo>
                        <a:cubicBezTo>
                          <a:pt x="72" y="120"/>
                          <a:pt x="72" y="120"/>
                          <a:pt x="72" y="120"/>
                        </a:cubicBezTo>
                        <a:cubicBezTo>
                          <a:pt x="72" y="212"/>
                          <a:pt x="72" y="212"/>
                          <a:pt x="72" y="212"/>
                        </a:cubicBezTo>
                        <a:cubicBezTo>
                          <a:pt x="64" y="214"/>
                          <a:pt x="58" y="222"/>
                          <a:pt x="58" y="231"/>
                        </a:cubicBezTo>
                        <a:cubicBezTo>
                          <a:pt x="58" y="242"/>
                          <a:pt x="66" y="251"/>
                          <a:pt x="77" y="251"/>
                        </a:cubicBezTo>
                        <a:cubicBezTo>
                          <a:pt x="87" y="251"/>
                          <a:pt x="96" y="242"/>
                          <a:pt x="96" y="231"/>
                        </a:cubicBezTo>
                        <a:cubicBezTo>
                          <a:pt x="96" y="222"/>
                          <a:pt x="90" y="215"/>
                          <a:pt x="82" y="212"/>
                        </a:cubicBezTo>
                        <a:cubicBezTo>
                          <a:pt x="82" y="164"/>
                          <a:pt x="82" y="164"/>
                          <a:pt x="82" y="164"/>
                        </a:cubicBezTo>
                        <a:cubicBezTo>
                          <a:pt x="101" y="164"/>
                          <a:pt x="101" y="164"/>
                          <a:pt x="101" y="164"/>
                        </a:cubicBezTo>
                        <a:cubicBezTo>
                          <a:pt x="103" y="172"/>
                          <a:pt x="111" y="178"/>
                          <a:pt x="120" y="178"/>
                        </a:cubicBezTo>
                        <a:cubicBezTo>
                          <a:pt x="131" y="178"/>
                          <a:pt x="140" y="169"/>
                          <a:pt x="140" y="159"/>
                        </a:cubicBezTo>
                        <a:cubicBezTo>
                          <a:pt x="140" y="148"/>
                          <a:pt x="131" y="140"/>
                          <a:pt x="120" y="140"/>
                        </a:cubicBezTo>
                        <a:moveTo>
                          <a:pt x="101" y="19"/>
                        </a:moveTo>
                        <a:cubicBezTo>
                          <a:pt x="101" y="14"/>
                          <a:pt x="105" y="9"/>
                          <a:pt x="111" y="9"/>
                        </a:cubicBezTo>
                        <a:cubicBezTo>
                          <a:pt x="116" y="9"/>
                          <a:pt x="120" y="14"/>
                          <a:pt x="120" y="19"/>
                        </a:cubicBezTo>
                        <a:cubicBezTo>
                          <a:pt x="120" y="24"/>
                          <a:pt x="116" y="29"/>
                          <a:pt x="111" y="29"/>
                        </a:cubicBezTo>
                        <a:cubicBezTo>
                          <a:pt x="105" y="29"/>
                          <a:pt x="101" y="24"/>
                          <a:pt x="101" y="19"/>
                        </a:cubicBezTo>
                        <a:moveTo>
                          <a:pt x="86" y="231"/>
                        </a:moveTo>
                        <a:cubicBezTo>
                          <a:pt x="86" y="237"/>
                          <a:pt x="82" y="241"/>
                          <a:pt x="77" y="241"/>
                        </a:cubicBezTo>
                        <a:cubicBezTo>
                          <a:pt x="72" y="241"/>
                          <a:pt x="67" y="237"/>
                          <a:pt x="67" y="231"/>
                        </a:cubicBezTo>
                        <a:cubicBezTo>
                          <a:pt x="67" y="226"/>
                          <a:pt x="72" y="222"/>
                          <a:pt x="77" y="222"/>
                        </a:cubicBezTo>
                        <a:cubicBezTo>
                          <a:pt x="82" y="222"/>
                          <a:pt x="86" y="226"/>
                          <a:pt x="86" y="231"/>
                        </a:cubicBezTo>
                        <a:moveTo>
                          <a:pt x="120" y="169"/>
                        </a:moveTo>
                        <a:cubicBezTo>
                          <a:pt x="115" y="169"/>
                          <a:pt x="111" y="164"/>
                          <a:pt x="111" y="159"/>
                        </a:cubicBezTo>
                        <a:cubicBezTo>
                          <a:pt x="111" y="154"/>
                          <a:pt x="115" y="149"/>
                          <a:pt x="120" y="149"/>
                        </a:cubicBezTo>
                        <a:cubicBezTo>
                          <a:pt x="126" y="149"/>
                          <a:pt x="130" y="154"/>
                          <a:pt x="130" y="159"/>
                        </a:cubicBezTo>
                        <a:cubicBezTo>
                          <a:pt x="130" y="164"/>
                          <a:pt x="126" y="169"/>
                          <a:pt x="120" y="169"/>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39" name="Rectangle 247"/>
                  <p:cNvSpPr>
                    <a:spLocks noChangeArrowheads="1"/>
                  </p:cNvSpPr>
                  <p:nvPr/>
                </p:nvSpPr>
                <p:spPr bwMode="auto">
                  <a:xfrm>
                    <a:off x="295275" y="2141537"/>
                    <a:ext cx="184150"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grpSp>
          </p:grpSp>
          <p:grpSp>
            <p:nvGrpSpPr>
              <p:cNvPr id="561" name="Group 560"/>
              <p:cNvGrpSpPr/>
              <p:nvPr/>
            </p:nvGrpSpPr>
            <p:grpSpPr>
              <a:xfrm>
                <a:off x="2716431" y="3554228"/>
                <a:ext cx="751133" cy="751133"/>
                <a:chOff x="5594044" y="3344020"/>
                <a:chExt cx="751133" cy="751133"/>
              </a:xfrm>
            </p:grpSpPr>
            <p:sp>
              <p:nvSpPr>
                <p:cNvPr id="795" name="Rounded Rectangle 794"/>
                <p:cNvSpPr/>
                <p:nvPr/>
              </p:nvSpPr>
              <p:spPr bwMode="auto">
                <a:xfrm>
                  <a:off x="5594044" y="3344020"/>
                  <a:ext cx="751133" cy="751133"/>
                </a:xfrm>
                <a:prstGeom prst="roundRect">
                  <a:avLst>
                    <a:gd name="adj" fmla="val 10327"/>
                  </a:avLst>
                </a:prstGeom>
                <a:solidFill>
                  <a:srgbClr val="666666"/>
                </a:solidFill>
                <a:ln w="12700" cap="flat" cmpd="sng" algn="ctr">
                  <a:noFill/>
                  <a:prstDash val="solid"/>
                  <a:round/>
                  <a:headEnd type="none" w="med" len="med"/>
                  <a:tailEnd type="none" w="med" len="med"/>
                </a:ln>
                <a:effectLst/>
              </p:spPr>
              <p:txBody>
                <a:bodyPr vert="horz" wrap="square" lIns="18288" tIns="18288" rIns="18288" bIns="18288" numCol="1" rtlCol="0" anchor="b" anchorCtr="0" compatLnSpc="1">
                  <a:prstTxWarp prst="textNoShape">
                    <a:avLst/>
                  </a:prstTxWarp>
                  <a:noAutofit/>
                </a:bodyPr>
                <a:lstStyle/>
                <a:p>
                  <a:pPr algn="ctr">
                    <a:defRPr/>
                  </a:pPr>
                  <a:r>
                    <a:rPr lang="en-US" sz="700" kern="0" dirty="0">
                      <a:solidFill>
                        <a:srgbClr val="FFFFFF"/>
                      </a:solidFill>
                      <a:latin typeface="Calibri"/>
                    </a:rPr>
                    <a:t>D</a:t>
                  </a:r>
                  <a:r>
                    <a:rPr lang="tr-TR" sz="700" kern="0" dirty="0">
                      <a:solidFill>
                        <a:srgbClr val="FFFFFF"/>
                      </a:solidFill>
                      <a:latin typeface="Calibri"/>
                    </a:rPr>
                    <a:t>İJİ</a:t>
                  </a:r>
                  <a:r>
                    <a:rPr lang="en-US" sz="700" kern="0" dirty="0">
                      <a:solidFill>
                        <a:srgbClr val="FFFFFF"/>
                      </a:solidFill>
                      <a:latin typeface="Calibri"/>
                    </a:rPr>
                    <a:t>TAL </a:t>
                  </a:r>
                  <a:endParaRPr lang="tr-TR" sz="700" kern="0" dirty="0">
                    <a:solidFill>
                      <a:srgbClr val="FFFFFF"/>
                    </a:solidFill>
                    <a:latin typeface="Calibri"/>
                  </a:endParaRPr>
                </a:p>
                <a:p>
                  <a:pPr algn="ctr">
                    <a:defRPr/>
                  </a:pPr>
                  <a:r>
                    <a:rPr lang="tr-TR" sz="700" kern="0" dirty="0">
                      <a:solidFill>
                        <a:srgbClr val="FFFFFF"/>
                      </a:solidFill>
                      <a:latin typeface="Calibri"/>
                    </a:rPr>
                    <a:t>ALTYAPI</a:t>
                  </a:r>
                  <a:endParaRPr lang="en-US" sz="700" kern="0" dirty="0">
                    <a:solidFill>
                      <a:srgbClr val="FFFFFF"/>
                    </a:solidFill>
                    <a:latin typeface="Calibri"/>
                  </a:endParaRPr>
                </a:p>
              </p:txBody>
            </p:sp>
            <p:grpSp>
              <p:nvGrpSpPr>
                <p:cNvPr id="796" name="Group 795"/>
                <p:cNvGrpSpPr/>
                <p:nvPr/>
              </p:nvGrpSpPr>
              <p:grpSpPr>
                <a:xfrm>
                  <a:off x="5830589" y="3411927"/>
                  <a:ext cx="278043" cy="304545"/>
                  <a:chOff x="2625725" y="1481137"/>
                  <a:chExt cx="982663" cy="1076325"/>
                </a:xfrm>
              </p:grpSpPr>
              <p:sp>
                <p:nvSpPr>
                  <p:cNvPr id="797" name="Freeform 248"/>
                  <p:cNvSpPr>
                    <a:spLocks noEditPoints="1"/>
                  </p:cNvSpPr>
                  <p:nvPr/>
                </p:nvSpPr>
                <p:spPr bwMode="auto">
                  <a:xfrm>
                    <a:off x="2657475" y="1497012"/>
                    <a:ext cx="922338" cy="1025525"/>
                  </a:xfrm>
                  <a:custGeom>
                    <a:avLst/>
                    <a:gdLst>
                      <a:gd name="T0" fmla="*/ 290 w 581"/>
                      <a:gd name="T1" fmla="*/ 646 h 646"/>
                      <a:gd name="T2" fmla="*/ 0 w 581"/>
                      <a:gd name="T3" fmla="*/ 486 h 646"/>
                      <a:gd name="T4" fmla="*/ 0 w 581"/>
                      <a:gd name="T5" fmla="*/ 162 h 646"/>
                      <a:gd name="T6" fmla="*/ 290 w 581"/>
                      <a:gd name="T7" fmla="*/ 0 h 646"/>
                      <a:gd name="T8" fmla="*/ 581 w 581"/>
                      <a:gd name="T9" fmla="*/ 162 h 646"/>
                      <a:gd name="T10" fmla="*/ 581 w 581"/>
                      <a:gd name="T11" fmla="*/ 486 h 646"/>
                      <a:gd name="T12" fmla="*/ 579 w 581"/>
                      <a:gd name="T13" fmla="*/ 486 h 646"/>
                      <a:gd name="T14" fmla="*/ 290 w 581"/>
                      <a:gd name="T15" fmla="*/ 646 h 646"/>
                      <a:gd name="T16" fmla="*/ 6 w 581"/>
                      <a:gd name="T17" fmla="*/ 480 h 646"/>
                      <a:gd name="T18" fmla="*/ 290 w 581"/>
                      <a:gd name="T19" fmla="*/ 638 h 646"/>
                      <a:gd name="T20" fmla="*/ 573 w 581"/>
                      <a:gd name="T21" fmla="*/ 480 h 646"/>
                      <a:gd name="T22" fmla="*/ 573 w 581"/>
                      <a:gd name="T23" fmla="*/ 166 h 646"/>
                      <a:gd name="T24" fmla="*/ 290 w 581"/>
                      <a:gd name="T25" fmla="*/ 10 h 646"/>
                      <a:gd name="T26" fmla="*/ 6 w 581"/>
                      <a:gd name="T27" fmla="*/ 166 h 646"/>
                      <a:gd name="T28" fmla="*/ 6 w 581"/>
                      <a:gd name="T29" fmla="*/ 48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1" h="646">
                        <a:moveTo>
                          <a:pt x="290" y="646"/>
                        </a:moveTo>
                        <a:lnTo>
                          <a:pt x="0" y="486"/>
                        </a:lnTo>
                        <a:lnTo>
                          <a:pt x="0" y="162"/>
                        </a:lnTo>
                        <a:lnTo>
                          <a:pt x="290" y="0"/>
                        </a:lnTo>
                        <a:lnTo>
                          <a:pt x="581" y="162"/>
                        </a:lnTo>
                        <a:lnTo>
                          <a:pt x="581" y="486"/>
                        </a:lnTo>
                        <a:lnTo>
                          <a:pt x="579" y="486"/>
                        </a:lnTo>
                        <a:lnTo>
                          <a:pt x="290" y="646"/>
                        </a:lnTo>
                        <a:close/>
                        <a:moveTo>
                          <a:pt x="6" y="480"/>
                        </a:moveTo>
                        <a:lnTo>
                          <a:pt x="290" y="638"/>
                        </a:lnTo>
                        <a:lnTo>
                          <a:pt x="573" y="480"/>
                        </a:lnTo>
                        <a:lnTo>
                          <a:pt x="573" y="166"/>
                        </a:lnTo>
                        <a:lnTo>
                          <a:pt x="290" y="10"/>
                        </a:lnTo>
                        <a:lnTo>
                          <a:pt x="6" y="166"/>
                        </a:lnTo>
                        <a:lnTo>
                          <a:pt x="6" y="480"/>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98" name="Freeform 249"/>
                  <p:cNvSpPr>
                    <a:spLocks noEditPoints="1"/>
                  </p:cNvSpPr>
                  <p:nvPr/>
                </p:nvSpPr>
                <p:spPr bwMode="auto">
                  <a:xfrm>
                    <a:off x="2638425" y="1741487"/>
                    <a:ext cx="957263" cy="787400"/>
                  </a:xfrm>
                  <a:custGeom>
                    <a:avLst/>
                    <a:gdLst>
                      <a:gd name="T0" fmla="*/ 302 w 603"/>
                      <a:gd name="T1" fmla="*/ 496 h 496"/>
                      <a:gd name="T2" fmla="*/ 204 w 603"/>
                      <a:gd name="T3" fmla="*/ 332 h 496"/>
                      <a:gd name="T4" fmla="*/ 0 w 603"/>
                      <a:gd name="T5" fmla="*/ 332 h 496"/>
                      <a:gd name="T6" fmla="*/ 152 w 603"/>
                      <a:gd name="T7" fmla="*/ 248 h 496"/>
                      <a:gd name="T8" fmla="*/ 4 w 603"/>
                      <a:gd name="T9" fmla="*/ 0 h 496"/>
                      <a:gd name="T10" fmla="*/ 302 w 603"/>
                      <a:gd name="T11" fmla="*/ 166 h 496"/>
                      <a:gd name="T12" fmla="*/ 599 w 603"/>
                      <a:gd name="T13" fmla="*/ 0 h 496"/>
                      <a:gd name="T14" fmla="*/ 450 w 603"/>
                      <a:gd name="T15" fmla="*/ 248 h 496"/>
                      <a:gd name="T16" fmla="*/ 603 w 603"/>
                      <a:gd name="T17" fmla="*/ 332 h 496"/>
                      <a:gd name="T18" fmla="*/ 398 w 603"/>
                      <a:gd name="T19" fmla="*/ 332 h 496"/>
                      <a:gd name="T20" fmla="*/ 302 w 603"/>
                      <a:gd name="T21" fmla="*/ 496 h 496"/>
                      <a:gd name="T22" fmla="*/ 212 w 603"/>
                      <a:gd name="T23" fmla="*/ 332 h 496"/>
                      <a:gd name="T24" fmla="*/ 302 w 603"/>
                      <a:gd name="T25" fmla="*/ 480 h 496"/>
                      <a:gd name="T26" fmla="*/ 390 w 603"/>
                      <a:gd name="T27" fmla="*/ 332 h 496"/>
                      <a:gd name="T28" fmla="*/ 212 w 603"/>
                      <a:gd name="T29" fmla="*/ 332 h 496"/>
                      <a:gd name="T30" fmla="*/ 404 w 603"/>
                      <a:gd name="T31" fmla="*/ 324 h 496"/>
                      <a:gd name="T32" fmla="*/ 573 w 603"/>
                      <a:gd name="T33" fmla="*/ 324 h 496"/>
                      <a:gd name="T34" fmla="*/ 446 w 603"/>
                      <a:gd name="T35" fmla="*/ 254 h 496"/>
                      <a:gd name="T36" fmla="*/ 404 w 603"/>
                      <a:gd name="T37" fmla="*/ 324 h 496"/>
                      <a:gd name="T38" fmla="*/ 208 w 603"/>
                      <a:gd name="T39" fmla="*/ 324 h 496"/>
                      <a:gd name="T40" fmla="*/ 394 w 603"/>
                      <a:gd name="T41" fmla="*/ 324 h 496"/>
                      <a:gd name="T42" fmla="*/ 438 w 603"/>
                      <a:gd name="T43" fmla="*/ 250 h 496"/>
                      <a:gd name="T44" fmla="*/ 302 w 603"/>
                      <a:gd name="T45" fmla="*/ 174 h 496"/>
                      <a:gd name="T46" fmla="*/ 164 w 603"/>
                      <a:gd name="T47" fmla="*/ 250 h 496"/>
                      <a:gd name="T48" fmla="*/ 208 w 603"/>
                      <a:gd name="T49" fmla="*/ 324 h 496"/>
                      <a:gd name="T50" fmla="*/ 30 w 603"/>
                      <a:gd name="T51" fmla="*/ 324 h 496"/>
                      <a:gd name="T52" fmla="*/ 198 w 603"/>
                      <a:gd name="T53" fmla="*/ 324 h 496"/>
                      <a:gd name="T54" fmla="*/ 156 w 603"/>
                      <a:gd name="T55" fmla="*/ 254 h 496"/>
                      <a:gd name="T56" fmla="*/ 30 w 603"/>
                      <a:gd name="T57" fmla="*/ 324 h 496"/>
                      <a:gd name="T58" fmla="*/ 310 w 603"/>
                      <a:gd name="T59" fmla="*/ 170 h 496"/>
                      <a:gd name="T60" fmla="*/ 444 w 603"/>
                      <a:gd name="T61" fmla="*/ 244 h 496"/>
                      <a:gd name="T62" fmla="*/ 577 w 603"/>
                      <a:gd name="T63" fmla="*/ 22 h 496"/>
                      <a:gd name="T64" fmla="*/ 310 w 603"/>
                      <a:gd name="T65" fmla="*/ 170 h 496"/>
                      <a:gd name="T66" fmla="*/ 26 w 603"/>
                      <a:gd name="T67" fmla="*/ 22 h 496"/>
                      <a:gd name="T68" fmla="*/ 160 w 603"/>
                      <a:gd name="T69" fmla="*/ 244 h 496"/>
                      <a:gd name="T70" fmla="*/ 294 w 603"/>
                      <a:gd name="T71" fmla="*/ 170 h 496"/>
                      <a:gd name="T72" fmla="*/ 26 w 603"/>
                      <a:gd name="T73" fmla="*/ 22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3" h="496">
                        <a:moveTo>
                          <a:pt x="302" y="496"/>
                        </a:moveTo>
                        <a:lnTo>
                          <a:pt x="204" y="332"/>
                        </a:lnTo>
                        <a:lnTo>
                          <a:pt x="0" y="332"/>
                        </a:lnTo>
                        <a:lnTo>
                          <a:pt x="152" y="248"/>
                        </a:lnTo>
                        <a:lnTo>
                          <a:pt x="4" y="0"/>
                        </a:lnTo>
                        <a:lnTo>
                          <a:pt x="302" y="166"/>
                        </a:lnTo>
                        <a:lnTo>
                          <a:pt x="599" y="0"/>
                        </a:lnTo>
                        <a:lnTo>
                          <a:pt x="450" y="248"/>
                        </a:lnTo>
                        <a:lnTo>
                          <a:pt x="603" y="332"/>
                        </a:lnTo>
                        <a:lnTo>
                          <a:pt x="398" y="332"/>
                        </a:lnTo>
                        <a:lnTo>
                          <a:pt x="302" y="496"/>
                        </a:lnTo>
                        <a:close/>
                        <a:moveTo>
                          <a:pt x="212" y="332"/>
                        </a:moveTo>
                        <a:lnTo>
                          <a:pt x="302" y="480"/>
                        </a:lnTo>
                        <a:lnTo>
                          <a:pt x="390" y="332"/>
                        </a:lnTo>
                        <a:lnTo>
                          <a:pt x="212" y="332"/>
                        </a:lnTo>
                        <a:close/>
                        <a:moveTo>
                          <a:pt x="404" y="324"/>
                        </a:moveTo>
                        <a:lnTo>
                          <a:pt x="573" y="324"/>
                        </a:lnTo>
                        <a:lnTo>
                          <a:pt x="446" y="254"/>
                        </a:lnTo>
                        <a:lnTo>
                          <a:pt x="404" y="324"/>
                        </a:lnTo>
                        <a:close/>
                        <a:moveTo>
                          <a:pt x="208" y="324"/>
                        </a:moveTo>
                        <a:lnTo>
                          <a:pt x="394" y="324"/>
                        </a:lnTo>
                        <a:lnTo>
                          <a:pt x="438" y="250"/>
                        </a:lnTo>
                        <a:lnTo>
                          <a:pt x="302" y="174"/>
                        </a:lnTo>
                        <a:lnTo>
                          <a:pt x="164" y="250"/>
                        </a:lnTo>
                        <a:lnTo>
                          <a:pt x="208" y="324"/>
                        </a:lnTo>
                        <a:close/>
                        <a:moveTo>
                          <a:pt x="30" y="324"/>
                        </a:moveTo>
                        <a:lnTo>
                          <a:pt x="198" y="324"/>
                        </a:lnTo>
                        <a:lnTo>
                          <a:pt x="156" y="254"/>
                        </a:lnTo>
                        <a:lnTo>
                          <a:pt x="30" y="324"/>
                        </a:lnTo>
                        <a:close/>
                        <a:moveTo>
                          <a:pt x="310" y="170"/>
                        </a:moveTo>
                        <a:lnTo>
                          <a:pt x="444" y="244"/>
                        </a:lnTo>
                        <a:lnTo>
                          <a:pt x="577" y="22"/>
                        </a:lnTo>
                        <a:lnTo>
                          <a:pt x="310" y="170"/>
                        </a:lnTo>
                        <a:close/>
                        <a:moveTo>
                          <a:pt x="26" y="22"/>
                        </a:moveTo>
                        <a:lnTo>
                          <a:pt x="160" y="244"/>
                        </a:lnTo>
                        <a:lnTo>
                          <a:pt x="294" y="170"/>
                        </a:lnTo>
                        <a:lnTo>
                          <a:pt x="26" y="22"/>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99" name="Freeform 250"/>
                  <p:cNvSpPr>
                    <a:spLocks noEditPoints="1"/>
                  </p:cNvSpPr>
                  <p:nvPr/>
                </p:nvSpPr>
                <p:spPr bwMode="auto">
                  <a:xfrm>
                    <a:off x="2654300" y="1484312"/>
                    <a:ext cx="469900" cy="1041400"/>
                  </a:xfrm>
                  <a:custGeom>
                    <a:avLst/>
                    <a:gdLst>
                      <a:gd name="T0" fmla="*/ 296 w 296"/>
                      <a:gd name="T1" fmla="*/ 656 h 656"/>
                      <a:gd name="T2" fmla="*/ 0 w 296"/>
                      <a:gd name="T3" fmla="*/ 492 h 656"/>
                      <a:gd name="T4" fmla="*/ 296 w 296"/>
                      <a:gd name="T5" fmla="*/ 0 h 656"/>
                      <a:gd name="T6" fmla="*/ 296 w 296"/>
                      <a:gd name="T7" fmla="*/ 656 h 656"/>
                      <a:gd name="T8" fmla="*/ 10 w 296"/>
                      <a:gd name="T9" fmla="*/ 490 h 656"/>
                      <a:gd name="T10" fmla="*/ 288 w 296"/>
                      <a:gd name="T11" fmla="*/ 644 h 656"/>
                      <a:gd name="T12" fmla="*/ 288 w 296"/>
                      <a:gd name="T13" fmla="*/ 28 h 656"/>
                      <a:gd name="T14" fmla="*/ 10 w 296"/>
                      <a:gd name="T15" fmla="*/ 490 h 6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6" h="656">
                        <a:moveTo>
                          <a:pt x="296" y="656"/>
                        </a:moveTo>
                        <a:lnTo>
                          <a:pt x="0" y="492"/>
                        </a:lnTo>
                        <a:lnTo>
                          <a:pt x="296" y="0"/>
                        </a:lnTo>
                        <a:lnTo>
                          <a:pt x="296" y="656"/>
                        </a:lnTo>
                        <a:close/>
                        <a:moveTo>
                          <a:pt x="10" y="490"/>
                        </a:moveTo>
                        <a:lnTo>
                          <a:pt x="288" y="644"/>
                        </a:lnTo>
                        <a:lnTo>
                          <a:pt x="288" y="28"/>
                        </a:lnTo>
                        <a:lnTo>
                          <a:pt x="10" y="490"/>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00" name="Freeform 251"/>
                  <p:cNvSpPr>
                    <a:spLocks/>
                  </p:cNvSpPr>
                  <p:nvPr/>
                </p:nvSpPr>
                <p:spPr bwMode="auto">
                  <a:xfrm>
                    <a:off x="3111500" y="1503362"/>
                    <a:ext cx="468313" cy="762000"/>
                  </a:xfrm>
                  <a:custGeom>
                    <a:avLst/>
                    <a:gdLst>
                      <a:gd name="T0" fmla="*/ 287 w 295"/>
                      <a:gd name="T1" fmla="*/ 480 h 480"/>
                      <a:gd name="T2" fmla="*/ 0 w 295"/>
                      <a:gd name="T3" fmla="*/ 4 h 480"/>
                      <a:gd name="T4" fmla="*/ 6 w 295"/>
                      <a:gd name="T5" fmla="*/ 0 h 480"/>
                      <a:gd name="T6" fmla="*/ 295 w 295"/>
                      <a:gd name="T7" fmla="*/ 476 h 480"/>
                      <a:gd name="T8" fmla="*/ 287 w 295"/>
                      <a:gd name="T9" fmla="*/ 480 h 480"/>
                    </a:gdLst>
                    <a:ahLst/>
                    <a:cxnLst>
                      <a:cxn ang="0">
                        <a:pos x="T0" y="T1"/>
                      </a:cxn>
                      <a:cxn ang="0">
                        <a:pos x="T2" y="T3"/>
                      </a:cxn>
                      <a:cxn ang="0">
                        <a:pos x="T4" y="T5"/>
                      </a:cxn>
                      <a:cxn ang="0">
                        <a:pos x="T6" y="T7"/>
                      </a:cxn>
                      <a:cxn ang="0">
                        <a:pos x="T8" y="T9"/>
                      </a:cxn>
                    </a:cxnLst>
                    <a:rect l="0" t="0" r="r" b="b"/>
                    <a:pathLst>
                      <a:path w="295" h="480">
                        <a:moveTo>
                          <a:pt x="287" y="480"/>
                        </a:moveTo>
                        <a:lnTo>
                          <a:pt x="0" y="4"/>
                        </a:lnTo>
                        <a:lnTo>
                          <a:pt x="6" y="0"/>
                        </a:lnTo>
                        <a:lnTo>
                          <a:pt x="295" y="476"/>
                        </a:lnTo>
                        <a:lnTo>
                          <a:pt x="287" y="480"/>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01" name="Rectangle 252"/>
                  <p:cNvSpPr>
                    <a:spLocks noChangeArrowheads="1"/>
                  </p:cNvSpPr>
                  <p:nvPr/>
                </p:nvSpPr>
                <p:spPr bwMode="auto">
                  <a:xfrm>
                    <a:off x="2660650" y="1751012"/>
                    <a:ext cx="912813" cy="12700"/>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02" name="Oval 253"/>
                  <p:cNvSpPr>
                    <a:spLocks noChangeArrowheads="1"/>
                  </p:cNvSpPr>
                  <p:nvPr/>
                </p:nvSpPr>
                <p:spPr bwMode="auto">
                  <a:xfrm>
                    <a:off x="2625725" y="1722437"/>
                    <a:ext cx="73025" cy="73025"/>
                  </a:xfrm>
                  <a:prstGeom prst="ellipse">
                    <a:avLst/>
                  </a:prstGeom>
                  <a:solidFill>
                    <a:srgbClr val="0E97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03" name="Oval 254"/>
                  <p:cNvSpPr>
                    <a:spLocks noChangeArrowheads="1"/>
                  </p:cNvSpPr>
                  <p:nvPr/>
                </p:nvSpPr>
                <p:spPr bwMode="auto">
                  <a:xfrm>
                    <a:off x="3535363" y="1722437"/>
                    <a:ext cx="73025" cy="73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04" name="Oval 255"/>
                  <p:cNvSpPr>
                    <a:spLocks noChangeArrowheads="1"/>
                  </p:cNvSpPr>
                  <p:nvPr/>
                </p:nvSpPr>
                <p:spPr bwMode="auto">
                  <a:xfrm>
                    <a:off x="3079750" y="2484437"/>
                    <a:ext cx="73025" cy="73025"/>
                  </a:xfrm>
                  <a:prstGeom prst="ellipse">
                    <a:avLst/>
                  </a:prstGeom>
                  <a:solidFill>
                    <a:srgbClr val="0E97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05" name="Oval 256"/>
                  <p:cNvSpPr>
                    <a:spLocks noChangeArrowheads="1"/>
                  </p:cNvSpPr>
                  <p:nvPr/>
                </p:nvSpPr>
                <p:spPr bwMode="auto">
                  <a:xfrm>
                    <a:off x="3082925" y="1973262"/>
                    <a:ext cx="73025" cy="73025"/>
                  </a:xfrm>
                  <a:prstGeom prst="ellipse">
                    <a:avLst/>
                  </a:prstGeom>
                  <a:solidFill>
                    <a:srgbClr val="0E97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06" name="Oval 257"/>
                  <p:cNvSpPr>
                    <a:spLocks noChangeArrowheads="1"/>
                  </p:cNvSpPr>
                  <p:nvPr/>
                </p:nvSpPr>
                <p:spPr bwMode="auto">
                  <a:xfrm>
                    <a:off x="3092450" y="1481137"/>
                    <a:ext cx="47625" cy="47625"/>
                  </a:xfrm>
                  <a:prstGeom prst="ellipse">
                    <a:avLst/>
                  </a:prstGeom>
                  <a:solidFill>
                    <a:srgbClr val="57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07" name="Oval 258"/>
                  <p:cNvSpPr>
                    <a:spLocks noChangeArrowheads="1"/>
                  </p:cNvSpPr>
                  <p:nvPr/>
                </p:nvSpPr>
                <p:spPr bwMode="auto">
                  <a:xfrm>
                    <a:off x="3548063" y="2239962"/>
                    <a:ext cx="47625" cy="476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08" name="Oval 259"/>
                  <p:cNvSpPr>
                    <a:spLocks noChangeArrowheads="1"/>
                  </p:cNvSpPr>
                  <p:nvPr/>
                </p:nvSpPr>
                <p:spPr bwMode="auto">
                  <a:xfrm>
                    <a:off x="2638425" y="2239962"/>
                    <a:ext cx="47625" cy="476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09" name="Oval 260"/>
                  <p:cNvSpPr>
                    <a:spLocks noChangeArrowheads="1"/>
                  </p:cNvSpPr>
                  <p:nvPr/>
                </p:nvSpPr>
                <p:spPr bwMode="auto">
                  <a:xfrm>
                    <a:off x="2787650" y="1985962"/>
                    <a:ext cx="47625" cy="476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10" name="Oval 261"/>
                  <p:cNvSpPr>
                    <a:spLocks noChangeArrowheads="1"/>
                  </p:cNvSpPr>
                  <p:nvPr/>
                </p:nvSpPr>
                <p:spPr bwMode="auto">
                  <a:xfrm>
                    <a:off x="3241675" y="2239962"/>
                    <a:ext cx="47625" cy="476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11" name="Oval 262"/>
                  <p:cNvSpPr>
                    <a:spLocks noChangeArrowheads="1"/>
                  </p:cNvSpPr>
                  <p:nvPr/>
                </p:nvSpPr>
                <p:spPr bwMode="auto">
                  <a:xfrm>
                    <a:off x="2943225" y="2239962"/>
                    <a:ext cx="47625" cy="476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12" name="Oval 263"/>
                  <p:cNvSpPr>
                    <a:spLocks noChangeArrowheads="1"/>
                  </p:cNvSpPr>
                  <p:nvPr/>
                </p:nvSpPr>
                <p:spPr bwMode="auto">
                  <a:xfrm>
                    <a:off x="3095625" y="1735137"/>
                    <a:ext cx="47625" cy="476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13" name="Oval 264"/>
                  <p:cNvSpPr>
                    <a:spLocks noChangeArrowheads="1"/>
                  </p:cNvSpPr>
                  <p:nvPr/>
                </p:nvSpPr>
                <p:spPr bwMode="auto">
                  <a:xfrm>
                    <a:off x="3321050" y="1862137"/>
                    <a:ext cx="47625" cy="476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814" name="Oval 265"/>
                  <p:cNvSpPr>
                    <a:spLocks noChangeArrowheads="1"/>
                  </p:cNvSpPr>
                  <p:nvPr/>
                </p:nvSpPr>
                <p:spPr bwMode="auto">
                  <a:xfrm>
                    <a:off x="3321050" y="2112962"/>
                    <a:ext cx="47625" cy="476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grpSp>
          </p:grpSp>
          <p:sp>
            <p:nvSpPr>
              <p:cNvPr id="562" name="Rectangle 561">
                <a:hlinkClick r:id="" action="ppaction://noaction"/>
              </p:cNvPr>
              <p:cNvSpPr/>
              <p:nvPr/>
            </p:nvSpPr>
            <p:spPr bwMode="auto">
              <a:xfrm>
                <a:off x="2708264" y="2723402"/>
                <a:ext cx="753903" cy="753903"/>
              </a:xfrm>
              <a:prstGeom prst="rect">
                <a:avLst/>
              </a:prstGeom>
              <a:no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1393340" eaLnBrk="0" fontAlgn="base" hangingPunct="0">
                  <a:spcBef>
                    <a:spcPct val="0"/>
                  </a:spcBef>
                  <a:spcAft>
                    <a:spcPct val="0"/>
                  </a:spcAft>
                </a:pPr>
                <a:endParaRPr lang="en-US" sz="800" dirty="0">
                  <a:solidFill>
                    <a:srgbClr val="000000"/>
                  </a:solidFill>
                  <a:latin typeface="Calibri"/>
                </a:endParaRPr>
              </a:p>
            </p:txBody>
          </p:sp>
          <p:sp>
            <p:nvSpPr>
              <p:cNvPr id="563" name="Rounded Rectangle 562"/>
              <p:cNvSpPr>
                <a:spLocks/>
              </p:cNvSpPr>
              <p:nvPr/>
            </p:nvSpPr>
            <p:spPr bwMode="auto">
              <a:xfrm>
                <a:off x="1119826" y="2718229"/>
                <a:ext cx="751133" cy="751134"/>
              </a:xfrm>
              <a:prstGeom prst="roundRect">
                <a:avLst>
                  <a:gd name="adj" fmla="val 10009"/>
                </a:avLst>
              </a:prstGeom>
              <a:solidFill>
                <a:srgbClr val="666666"/>
              </a:solidFill>
              <a:ln w="12700" cap="flat" cmpd="sng" algn="ctr">
                <a:noFill/>
                <a:prstDash val="solid"/>
                <a:round/>
                <a:headEnd type="none" w="med" len="med"/>
                <a:tailEnd type="none" w="med" len="med"/>
              </a:ln>
              <a:effectLst>
                <a:glow>
                  <a:srgbClr val="969696">
                    <a:alpha val="40000"/>
                  </a:srgbClr>
                </a:glow>
                <a:softEdge rad="0"/>
              </a:effectLst>
            </p:spPr>
            <p:txBody>
              <a:bodyPr vert="horz" wrap="square" lIns="18288" tIns="18288" rIns="18288" bIns="18288" numCol="1" rtlCol="0" anchor="t" anchorCtr="0" compatLnSpc="1">
                <a:prstTxWarp prst="textNoShape">
                  <a:avLst/>
                </a:prstTxWarp>
                <a:noAutofit/>
              </a:bodyPr>
              <a:lstStyle/>
              <a:p>
                <a:pPr algn="ctr">
                  <a:defRPr/>
                </a:pPr>
                <a:endParaRPr lang="en-US" sz="800" kern="0" dirty="0">
                  <a:solidFill>
                    <a:srgbClr val="FFFFFF"/>
                  </a:solidFill>
                  <a:latin typeface="Calibri"/>
                </a:endParaRPr>
              </a:p>
              <a:p>
                <a:pPr algn="ctr">
                  <a:defRPr/>
                </a:pPr>
                <a:endParaRPr lang="en-US" sz="800" kern="0" dirty="0">
                  <a:solidFill>
                    <a:srgbClr val="FFFFFF"/>
                  </a:solidFill>
                  <a:latin typeface="Calibri"/>
                </a:endParaRPr>
              </a:p>
              <a:p>
                <a:pPr algn="ctr">
                  <a:defRPr/>
                </a:pPr>
                <a:endParaRPr lang="tr-TR" sz="700" kern="0" dirty="0">
                  <a:solidFill>
                    <a:srgbClr val="FFFFFF"/>
                  </a:solidFill>
                  <a:latin typeface="Calibri"/>
                </a:endParaRPr>
              </a:p>
              <a:p>
                <a:pPr algn="ctr">
                  <a:defRPr/>
                </a:pPr>
                <a:r>
                  <a:rPr lang="en-US" sz="700" kern="0" dirty="0">
                    <a:solidFill>
                      <a:srgbClr val="FFFFFF"/>
                    </a:solidFill>
                    <a:latin typeface="Calibri"/>
                  </a:rPr>
                  <a:t>DRON</a:t>
                </a:r>
                <a:r>
                  <a:rPr lang="tr-TR" sz="700" kern="0" dirty="0">
                    <a:solidFill>
                      <a:srgbClr val="FFFFFF"/>
                    </a:solidFill>
                    <a:latin typeface="Calibri"/>
                  </a:rPr>
                  <a:t>ELAR</a:t>
                </a:r>
                <a:endParaRPr lang="en-US" sz="700" kern="0" dirty="0">
                  <a:solidFill>
                    <a:srgbClr val="FFFFFF"/>
                  </a:solidFill>
                  <a:latin typeface="Calibri"/>
                </a:endParaRPr>
              </a:p>
            </p:txBody>
          </p:sp>
          <p:grpSp>
            <p:nvGrpSpPr>
              <p:cNvPr id="564" name="Group 563"/>
              <p:cNvGrpSpPr/>
              <p:nvPr/>
            </p:nvGrpSpPr>
            <p:grpSpPr>
              <a:xfrm>
                <a:off x="1284432" y="2830566"/>
                <a:ext cx="421920" cy="321128"/>
                <a:chOff x="-1127875" y="1266028"/>
                <a:chExt cx="714375" cy="543722"/>
              </a:xfrm>
            </p:grpSpPr>
            <p:grpSp>
              <p:nvGrpSpPr>
                <p:cNvPr id="789" name="Group 788"/>
                <p:cNvGrpSpPr/>
                <p:nvPr/>
              </p:nvGrpSpPr>
              <p:grpSpPr>
                <a:xfrm>
                  <a:off x="-1127875" y="1375964"/>
                  <a:ext cx="714375" cy="381000"/>
                  <a:chOff x="-76200" y="-1214438"/>
                  <a:chExt cx="714375" cy="381000"/>
                </a:xfrm>
              </p:grpSpPr>
              <p:sp>
                <p:nvSpPr>
                  <p:cNvPr id="791" name="Freeform 8"/>
                  <p:cNvSpPr>
                    <a:spLocks noEditPoints="1"/>
                  </p:cNvSpPr>
                  <p:nvPr/>
                </p:nvSpPr>
                <p:spPr bwMode="auto">
                  <a:xfrm>
                    <a:off x="-76200" y="-1214438"/>
                    <a:ext cx="714375" cy="244475"/>
                  </a:xfrm>
                  <a:custGeom>
                    <a:avLst/>
                    <a:gdLst>
                      <a:gd name="T0" fmla="*/ 194 w 225"/>
                      <a:gd name="T1" fmla="*/ 11 h 77"/>
                      <a:gd name="T2" fmla="*/ 183 w 225"/>
                      <a:gd name="T3" fmla="*/ 0 h 77"/>
                      <a:gd name="T4" fmla="*/ 173 w 225"/>
                      <a:gd name="T5" fmla="*/ 11 h 77"/>
                      <a:gd name="T6" fmla="*/ 141 w 225"/>
                      <a:gd name="T7" fmla="*/ 14 h 77"/>
                      <a:gd name="T8" fmla="*/ 169 w 225"/>
                      <a:gd name="T9" fmla="*/ 17 h 77"/>
                      <a:gd name="T10" fmla="*/ 169 w 225"/>
                      <a:gd name="T11" fmla="*/ 21 h 77"/>
                      <a:gd name="T12" fmla="*/ 56 w 225"/>
                      <a:gd name="T13" fmla="*/ 21 h 77"/>
                      <a:gd name="T14" fmla="*/ 81 w 225"/>
                      <a:gd name="T15" fmla="*/ 17 h 77"/>
                      <a:gd name="T16" fmla="*/ 81 w 225"/>
                      <a:gd name="T17" fmla="*/ 11 h 77"/>
                      <a:gd name="T18" fmla="*/ 52 w 225"/>
                      <a:gd name="T19" fmla="*/ 11 h 77"/>
                      <a:gd name="T20" fmla="*/ 32 w 225"/>
                      <a:gd name="T21" fmla="*/ 11 h 77"/>
                      <a:gd name="T22" fmla="*/ 3 w 225"/>
                      <a:gd name="T23" fmla="*/ 11 h 77"/>
                      <a:gd name="T24" fmla="*/ 3 w 225"/>
                      <a:gd name="T25" fmla="*/ 17 h 77"/>
                      <a:gd name="T26" fmla="*/ 28 w 225"/>
                      <a:gd name="T27" fmla="*/ 21 h 77"/>
                      <a:gd name="T28" fmla="*/ 54 w 225"/>
                      <a:gd name="T29" fmla="*/ 28 h 77"/>
                      <a:gd name="T30" fmla="*/ 78 w 225"/>
                      <a:gd name="T31" fmla="*/ 37 h 77"/>
                      <a:gd name="T32" fmla="*/ 109 w 225"/>
                      <a:gd name="T33" fmla="*/ 49 h 77"/>
                      <a:gd name="T34" fmla="*/ 102 w 225"/>
                      <a:gd name="T35" fmla="*/ 67 h 77"/>
                      <a:gd name="T36" fmla="*/ 123 w 225"/>
                      <a:gd name="T37" fmla="*/ 67 h 77"/>
                      <a:gd name="T38" fmla="*/ 116 w 225"/>
                      <a:gd name="T39" fmla="*/ 49 h 77"/>
                      <a:gd name="T40" fmla="*/ 147 w 225"/>
                      <a:gd name="T41" fmla="*/ 37 h 77"/>
                      <a:gd name="T42" fmla="*/ 171 w 225"/>
                      <a:gd name="T43" fmla="*/ 28 h 77"/>
                      <a:gd name="T44" fmla="*/ 197 w 225"/>
                      <a:gd name="T45" fmla="*/ 21 h 77"/>
                      <a:gd name="T46" fmla="*/ 222 w 225"/>
                      <a:gd name="T47" fmla="*/ 17 h 77"/>
                      <a:gd name="T48" fmla="*/ 222 w 225"/>
                      <a:gd name="T49" fmla="*/ 11 h 77"/>
                      <a:gd name="T50" fmla="*/ 42 w 225"/>
                      <a:gd name="T51" fmla="*/ 7 h 77"/>
                      <a:gd name="T52" fmla="*/ 46 w 225"/>
                      <a:gd name="T53" fmla="*/ 11 h 77"/>
                      <a:gd name="T54" fmla="*/ 42 w 225"/>
                      <a:gd name="T55" fmla="*/ 28 h 77"/>
                      <a:gd name="T56" fmla="*/ 35 w 225"/>
                      <a:gd name="T57" fmla="*/ 17 h 77"/>
                      <a:gd name="T58" fmla="*/ 49 w 225"/>
                      <a:gd name="T59" fmla="*/ 21 h 77"/>
                      <a:gd name="T60" fmla="*/ 113 w 225"/>
                      <a:gd name="T61" fmla="*/ 71 h 77"/>
                      <a:gd name="T62" fmla="*/ 113 w 225"/>
                      <a:gd name="T63" fmla="*/ 63 h 77"/>
                      <a:gd name="T64" fmla="*/ 113 w 225"/>
                      <a:gd name="T65" fmla="*/ 71 h 77"/>
                      <a:gd name="T66" fmla="*/ 131 w 225"/>
                      <a:gd name="T67" fmla="*/ 43 h 77"/>
                      <a:gd name="T68" fmla="*/ 84 w 225"/>
                      <a:gd name="T69" fmla="*/ 35 h 77"/>
                      <a:gd name="T70" fmla="*/ 143 w 225"/>
                      <a:gd name="T71" fmla="*/ 28 h 77"/>
                      <a:gd name="T72" fmla="*/ 180 w 225"/>
                      <a:gd name="T73" fmla="*/ 11 h 77"/>
                      <a:gd name="T74" fmla="*/ 187 w 225"/>
                      <a:gd name="T75" fmla="*/ 11 h 77"/>
                      <a:gd name="T76" fmla="*/ 180 w 225"/>
                      <a:gd name="T77" fmla="*/ 11 h 77"/>
                      <a:gd name="T78" fmla="*/ 183 w 225"/>
                      <a:gd name="T79" fmla="*/ 28 h 77"/>
                      <a:gd name="T80" fmla="*/ 176 w 225"/>
                      <a:gd name="T81" fmla="*/ 17 h 77"/>
                      <a:gd name="T82" fmla="*/ 191 w 225"/>
                      <a:gd name="T83" fmla="*/ 2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5" h="77">
                        <a:moveTo>
                          <a:pt x="222" y="11"/>
                        </a:moveTo>
                        <a:cubicBezTo>
                          <a:pt x="194" y="11"/>
                          <a:pt x="194" y="11"/>
                          <a:pt x="194" y="11"/>
                        </a:cubicBezTo>
                        <a:cubicBezTo>
                          <a:pt x="194" y="11"/>
                          <a:pt x="194" y="11"/>
                          <a:pt x="194" y="11"/>
                        </a:cubicBezTo>
                        <a:cubicBezTo>
                          <a:pt x="194" y="5"/>
                          <a:pt x="189" y="0"/>
                          <a:pt x="183" y="0"/>
                        </a:cubicBezTo>
                        <a:cubicBezTo>
                          <a:pt x="178" y="0"/>
                          <a:pt x="173" y="5"/>
                          <a:pt x="173" y="11"/>
                        </a:cubicBezTo>
                        <a:cubicBezTo>
                          <a:pt x="173" y="11"/>
                          <a:pt x="173" y="11"/>
                          <a:pt x="173" y="11"/>
                        </a:cubicBezTo>
                        <a:cubicBezTo>
                          <a:pt x="144" y="11"/>
                          <a:pt x="144" y="11"/>
                          <a:pt x="144" y="11"/>
                        </a:cubicBezTo>
                        <a:cubicBezTo>
                          <a:pt x="143" y="11"/>
                          <a:pt x="141" y="12"/>
                          <a:pt x="141" y="14"/>
                        </a:cubicBezTo>
                        <a:cubicBezTo>
                          <a:pt x="141" y="16"/>
                          <a:pt x="143" y="17"/>
                          <a:pt x="144" y="17"/>
                        </a:cubicBezTo>
                        <a:cubicBezTo>
                          <a:pt x="169" y="17"/>
                          <a:pt x="169" y="17"/>
                          <a:pt x="169" y="17"/>
                        </a:cubicBezTo>
                        <a:cubicBezTo>
                          <a:pt x="169" y="21"/>
                          <a:pt x="169" y="21"/>
                          <a:pt x="169" y="21"/>
                        </a:cubicBezTo>
                        <a:cubicBezTo>
                          <a:pt x="169" y="21"/>
                          <a:pt x="169" y="21"/>
                          <a:pt x="169" y="21"/>
                        </a:cubicBezTo>
                        <a:cubicBezTo>
                          <a:pt x="56" y="21"/>
                          <a:pt x="56" y="21"/>
                          <a:pt x="56" y="21"/>
                        </a:cubicBezTo>
                        <a:cubicBezTo>
                          <a:pt x="56" y="21"/>
                          <a:pt x="56" y="21"/>
                          <a:pt x="56" y="21"/>
                        </a:cubicBezTo>
                        <a:cubicBezTo>
                          <a:pt x="56" y="17"/>
                          <a:pt x="56" y="17"/>
                          <a:pt x="56" y="17"/>
                        </a:cubicBezTo>
                        <a:cubicBezTo>
                          <a:pt x="81" y="17"/>
                          <a:pt x="81" y="17"/>
                          <a:pt x="81" y="17"/>
                        </a:cubicBezTo>
                        <a:cubicBezTo>
                          <a:pt x="83" y="17"/>
                          <a:pt x="84" y="16"/>
                          <a:pt x="84" y="14"/>
                        </a:cubicBezTo>
                        <a:cubicBezTo>
                          <a:pt x="84" y="12"/>
                          <a:pt x="83" y="11"/>
                          <a:pt x="81" y="11"/>
                        </a:cubicBezTo>
                        <a:cubicBezTo>
                          <a:pt x="52" y="11"/>
                          <a:pt x="52" y="11"/>
                          <a:pt x="52" y="11"/>
                        </a:cubicBezTo>
                        <a:cubicBezTo>
                          <a:pt x="52" y="11"/>
                          <a:pt x="52" y="11"/>
                          <a:pt x="52" y="11"/>
                        </a:cubicBezTo>
                        <a:cubicBezTo>
                          <a:pt x="52" y="5"/>
                          <a:pt x="48" y="0"/>
                          <a:pt x="42" y="0"/>
                        </a:cubicBezTo>
                        <a:cubicBezTo>
                          <a:pt x="36" y="0"/>
                          <a:pt x="32" y="5"/>
                          <a:pt x="32" y="11"/>
                        </a:cubicBezTo>
                        <a:cubicBezTo>
                          <a:pt x="32" y="11"/>
                          <a:pt x="32" y="11"/>
                          <a:pt x="32" y="11"/>
                        </a:cubicBezTo>
                        <a:cubicBezTo>
                          <a:pt x="3" y="11"/>
                          <a:pt x="3" y="11"/>
                          <a:pt x="3" y="11"/>
                        </a:cubicBezTo>
                        <a:cubicBezTo>
                          <a:pt x="1" y="11"/>
                          <a:pt x="0" y="12"/>
                          <a:pt x="0" y="14"/>
                        </a:cubicBezTo>
                        <a:cubicBezTo>
                          <a:pt x="0" y="16"/>
                          <a:pt x="1" y="17"/>
                          <a:pt x="3" y="17"/>
                        </a:cubicBezTo>
                        <a:cubicBezTo>
                          <a:pt x="28" y="17"/>
                          <a:pt x="28" y="17"/>
                          <a:pt x="28" y="17"/>
                        </a:cubicBezTo>
                        <a:cubicBezTo>
                          <a:pt x="28" y="21"/>
                          <a:pt x="28" y="21"/>
                          <a:pt x="28" y="21"/>
                        </a:cubicBezTo>
                        <a:cubicBezTo>
                          <a:pt x="28" y="29"/>
                          <a:pt x="34" y="35"/>
                          <a:pt x="42" y="35"/>
                        </a:cubicBezTo>
                        <a:cubicBezTo>
                          <a:pt x="47" y="35"/>
                          <a:pt x="52" y="32"/>
                          <a:pt x="54" y="28"/>
                        </a:cubicBezTo>
                        <a:cubicBezTo>
                          <a:pt x="75" y="28"/>
                          <a:pt x="75" y="28"/>
                          <a:pt x="75" y="28"/>
                        </a:cubicBezTo>
                        <a:cubicBezTo>
                          <a:pt x="78" y="37"/>
                          <a:pt x="78" y="37"/>
                          <a:pt x="78" y="37"/>
                        </a:cubicBezTo>
                        <a:cubicBezTo>
                          <a:pt x="80" y="44"/>
                          <a:pt x="87" y="49"/>
                          <a:pt x="95" y="49"/>
                        </a:cubicBezTo>
                        <a:cubicBezTo>
                          <a:pt x="109" y="49"/>
                          <a:pt x="109" y="49"/>
                          <a:pt x="109" y="49"/>
                        </a:cubicBezTo>
                        <a:cubicBezTo>
                          <a:pt x="109" y="57"/>
                          <a:pt x="109" y="57"/>
                          <a:pt x="109" y="57"/>
                        </a:cubicBezTo>
                        <a:cubicBezTo>
                          <a:pt x="105" y="59"/>
                          <a:pt x="102" y="62"/>
                          <a:pt x="102" y="67"/>
                        </a:cubicBezTo>
                        <a:cubicBezTo>
                          <a:pt x="102" y="73"/>
                          <a:pt x="107" y="77"/>
                          <a:pt x="113" y="77"/>
                        </a:cubicBezTo>
                        <a:cubicBezTo>
                          <a:pt x="118" y="77"/>
                          <a:pt x="123" y="73"/>
                          <a:pt x="123" y="67"/>
                        </a:cubicBezTo>
                        <a:cubicBezTo>
                          <a:pt x="123" y="62"/>
                          <a:pt x="120" y="59"/>
                          <a:pt x="116" y="57"/>
                        </a:cubicBezTo>
                        <a:cubicBezTo>
                          <a:pt x="116" y="49"/>
                          <a:pt x="116" y="49"/>
                          <a:pt x="116" y="49"/>
                        </a:cubicBezTo>
                        <a:cubicBezTo>
                          <a:pt x="131" y="49"/>
                          <a:pt x="131" y="49"/>
                          <a:pt x="131" y="49"/>
                        </a:cubicBezTo>
                        <a:cubicBezTo>
                          <a:pt x="138" y="49"/>
                          <a:pt x="145" y="44"/>
                          <a:pt x="147" y="37"/>
                        </a:cubicBezTo>
                        <a:cubicBezTo>
                          <a:pt x="150" y="28"/>
                          <a:pt x="150" y="28"/>
                          <a:pt x="150" y="28"/>
                        </a:cubicBezTo>
                        <a:cubicBezTo>
                          <a:pt x="171" y="28"/>
                          <a:pt x="171" y="28"/>
                          <a:pt x="171" y="28"/>
                        </a:cubicBezTo>
                        <a:cubicBezTo>
                          <a:pt x="174" y="32"/>
                          <a:pt x="178" y="35"/>
                          <a:pt x="183" y="35"/>
                        </a:cubicBezTo>
                        <a:cubicBezTo>
                          <a:pt x="191" y="35"/>
                          <a:pt x="197" y="29"/>
                          <a:pt x="197" y="21"/>
                        </a:cubicBezTo>
                        <a:cubicBezTo>
                          <a:pt x="197" y="17"/>
                          <a:pt x="197" y="17"/>
                          <a:pt x="197" y="17"/>
                        </a:cubicBezTo>
                        <a:cubicBezTo>
                          <a:pt x="222" y="17"/>
                          <a:pt x="222" y="17"/>
                          <a:pt x="222" y="17"/>
                        </a:cubicBezTo>
                        <a:cubicBezTo>
                          <a:pt x="224" y="17"/>
                          <a:pt x="225" y="16"/>
                          <a:pt x="225" y="14"/>
                        </a:cubicBezTo>
                        <a:cubicBezTo>
                          <a:pt x="225" y="12"/>
                          <a:pt x="224" y="11"/>
                          <a:pt x="222" y="11"/>
                        </a:cubicBezTo>
                        <a:moveTo>
                          <a:pt x="38" y="11"/>
                        </a:moveTo>
                        <a:cubicBezTo>
                          <a:pt x="38" y="8"/>
                          <a:pt x="40" y="7"/>
                          <a:pt x="42" y="7"/>
                        </a:cubicBezTo>
                        <a:cubicBezTo>
                          <a:pt x="44" y="7"/>
                          <a:pt x="46" y="8"/>
                          <a:pt x="46" y="11"/>
                        </a:cubicBezTo>
                        <a:cubicBezTo>
                          <a:pt x="46" y="11"/>
                          <a:pt x="46" y="11"/>
                          <a:pt x="46" y="11"/>
                        </a:cubicBezTo>
                        <a:cubicBezTo>
                          <a:pt x="38" y="11"/>
                          <a:pt x="38" y="11"/>
                          <a:pt x="38" y="11"/>
                        </a:cubicBezTo>
                        <a:close/>
                        <a:moveTo>
                          <a:pt x="42" y="28"/>
                        </a:moveTo>
                        <a:cubicBezTo>
                          <a:pt x="38" y="28"/>
                          <a:pt x="35" y="25"/>
                          <a:pt x="35" y="21"/>
                        </a:cubicBezTo>
                        <a:cubicBezTo>
                          <a:pt x="35" y="17"/>
                          <a:pt x="35" y="17"/>
                          <a:pt x="35" y="17"/>
                        </a:cubicBezTo>
                        <a:cubicBezTo>
                          <a:pt x="49" y="17"/>
                          <a:pt x="49" y="17"/>
                          <a:pt x="49" y="17"/>
                        </a:cubicBezTo>
                        <a:cubicBezTo>
                          <a:pt x="49" y="21"/>
                          <a:pt x="49" y="21"/>
                          <a:pt x="49" y="21"/>
                        </a:cubicBezTo>
                        <a:cubicBezTo>
                          <a:pt x="49" y="25"/>
                          <a:pt x="46" y="28"/>
                          <a:pt x="42" y="28"/>
                        </a:cubicBezTo>
                        <a:moveTo>
                          <a:pt x="113" y="71"/>
                        </a:moveTo>
                        <a:cubicBezTo>
                          <a:pt x="111" y="71"/>
                          <a:pt x="109" y="69"/>
                          <a:pt x="109" y="67"/>
                        </a:cubicBezTo>
                        <a:cubicBezTo>
                          <a:pt x="109" y="65"/>
                          <a:pt x="111" y="63"/>
                          <a:pt x="113" y="63"/>
                        </a:cubicBezTo>
                        <a:cubicBezTo>
                          <a:pt x="115" y="63"/>
                          <a:pt x="116" y="65"/>
                          <a:pt x="116" y="67"/>
                        </a:cubicBezTo>
                        <a:cubicBezTo>
                          <a:pt x="116" y="69"/>
                          <a:pt x="115" y="71"/>
                          <a:pt x="113" y="71"/>
                        </a:cubicBezTo>
                        <a:moveTo>
                          <a:pt x="141" y="35"/>
                        </a:moveTo>
                        <a:cubicBezTo>
                          <a:pt x="140" y="40"/>
                          <a:pt x="135" y="43"/>
                          <a:pt x="131" y="43"/>
                        </a:cubicBezTo>
                        <a:cubicBezTo>
                          <a:pt x="95" y="43"/>
                          <a:pt x="95" y="43"/>
                          <a:pt x="95" y="43"/>
                        </a:cubicBezTo>
                        <a:cubicBezTo>
                          <a:pt x="90" y="43"/>
                          <a:pt x="86" y="40"/>
                          <a:pt x="84" y="35"/>
                        </a:cubicBezTo>
                        <a:cubicBezTo>
                          <a:pt x="82" y="28"/>
                          <a:pt x="82" y="28"/>
                          <a:pt x="82" y="28"/>
                        </a:cubicBezTo>
                        <a:cubicBezTo>
                          <a:pt x="143" y="28"/>
                          <a:pt x="143" y="28"/>
                          <a:pt x="143" y="28"/>
                        </a:cubicBezTo>
                        <a:lnTo>
                          <a:pt x="141" y="35"/>
                        </a:lnTo>
                        <a:close/>
                        <a:moveTo>
                          <a:pt x="180" y="11"/>
                        </a:moveTo>
                        <a:cubicBezTo>
                          <a:pt x="180" y="8"/>
                          <a:pt x="181" y="7"/>
                          <a:pt x="183" y="7"/>
                        </a:cubicBezTo>
                        <a:cubicBezTo>
                          <a:pt x="185" y="7"/>
                          <a:pt x="187" y="8"/>
                          <a:pt x="187" y="11"/>
                        </a:cubicBezTo>
                        <a:cubicBezTo>
                          <a:pt x="187" y="11"/>
                          <a:pt x="187" y="11"/>
                          <a:pt x="187" y="11"/>
                        </a:cubicBezTo>
                        <a:cubicBezTo>
                          <a:pt x="180" y="11"/>
                          <a:pt x="180" y="11"/>
                          <a:pt x="180" y="11"/>
                        </a:cubicBezTo>
                        <a:close/>
                        <a:moveTo>
                          <a:pt x="191" y="21"/>
                        </a:moveTo>
                        <a:cubicBezTo>
                          <a:pt x="191" y="25"/>
                          <a:pt x="187" y="28"/>
                          <a:pt x="183" y="28"/>
                        </a:cubicBezTo>
                        <a:cubicBezTo>
                          <a:pt x="179" y="28"/>
                          <a:pt x="176" y="25"/>
                          <a:pt x="176" y="21"/>
                        </a:cubicBezTo>
                        <a:cubicBezTo>
                          <a:pt x="176" y="17"/>
                          <a:pt x="176" y="17"/>
                          <a:pt x="176" y="17"/>
                        </a:cubicBezTo>
                        <a:cubicBezTo>
                          <a:pt x="191" y="17"/>
                          <a:pt x="191" y="17"/>
                          <a:pt x="191" y="17"/>
                        </a:cubicBezTo>
                        <a:lnTo>
                          <a:pt x="191"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92" name="Freeform 9"/>
                  <p:cNvSpPr>
                    <a:spLocks/>
                  </p:cNvSpPr>
                  <p:nvPr/>
                </p:nvSpPr>
                <p:spPr bwMode="auto">
                  <a:xfrm>
                    <a:off x="222250" y="-966788"/>
                    <a:ext cx="117475" cy="44450"/>
                  </a:xfrm>
                  <a:custGeom>
                    <a:avLst/>
                    <a:gdLst>
                      <a:gd name="T0" fmla="*/ 36 w 37"/>
                      <a:gd name="T1" fmla="*/ 6 h 14"/>
                      <a:gd name="T2" fmla="*/ 36 w 37"/>
                      <a:gd name="T3" fmla="*/ 2 h 14"/>
                      <a:gd name="T4" fmla="*/ 31 w 37"/>
                      <a:gd name="T5" fmla="*/ 2 h 14"/>
                      <a:gd name="T6" fmla="*/ 6 w 37"/>
                      <a:gd name="T7" fmla="*/ 2 h 14"/>
                      <a:gd name="T8" fmla="*/ 1 w 37"/>
                      <a:gd name="T9" fmla="*/ 2 h 14"/>
                      <a:gd name="T10" fmla="*/ 1 w 37"/>
                      <a:gd name="T11" fmla="*/ 6 h 14"/>
                      <a:gd name="T12" fmla="*/ 19 w 37"/>
                      <a:gd name="T13" fmla="*/ 14 h 14"/>
                      <a:gd name="T14" fmla="*/ 36 w 37"/>
                      <a:gd name="T15" fmla="*/ 6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4">
                        <a:moveTo>
                          <a:pt x="36" y="6"/>
                        </a:moveTo>
                        <a:cubicBezTo>
                          <a:pt x="37" y="5"/>
                          <a:pt x="37" y="3"/>
                          <a:pt x="36" y="2"/>
                        </a:cubicBezTo>
                        <a:cubicBezTo>
                          <a:pt x="35" y="0"/>
                          <a:pt x="33" y="0"/>
                          <a:pt x="31" y="2"/>
                        </a:cubicBezTo>
                        <a:cubicBezTo>
                          <a:pt x="24" y="9"/>
                          <a:pt x="13" y="9"/>
                          <a:pt x="6" y="2"/>
                        </a:cubicBezTo>
                        <a:cubicBezTo>
                          <a:pt x="5" y="0"/>
                          <a:pt x="3" y="0"/>
                          <a:pt x="1" y="2"/>
                        </a:cubicBezTo>
                        <a:cubicBezTo>
                          <a:pt x="0" y="3"/>
                          <a:pt x="0" y="5"/>
                          <a:pt x="1" y="6"/>
                        </a:cubicBezTo>
                        <a:cubicBezTo>
                          <a:pt x="6" y="11"/>
                          <a:pt x="12" y="14"/>
                          <a:pt x="19" y="14"/>
                        </a:cubicBezTo>
                        <a:cubicBezTo>
                          <a:pt x="25" y="14"/>
                          <a:pt x="31" y="11"/>
                          <a:pt x="36" y="6"/>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93" name="Freeform 10"/>
                  <p:cNvSpPr>
                    <a:spLocks/>
                  </p:cNvSpPr>
                  <p:nvPr/>
                </p:nvSpPr>
                <p:spPr bwMode="auto">
                  <a:xfrm>
                    <a:off x="190500" y="-935038"/>
                    <a:ext cx="180975" cy="57150"/>
                  </a:xfrm>
                  <a:custGeom>
                    <a:avLst/>
                    <a:gdLst>
                      <a:gd name="T0" fmla="*/ 1 w 57"/>
                      <a:gd name="T1" fmla="*/ 2 h 18"/>
                      <a:gd name="T2" fmla="*/ 1 w 57"/>
                      <a:gd name="T3" fmla="*/ 6 h 18"/>
                      <a:gd name="T4" fmla="*/ 29 w 57"/>
                      <a:gd name="T5" fmla="*/ 18 h 18"/>
                      <a:gd name="T6" fmla="*/ 56 w 57"/>
                      <a:gd name="T7" fmla="*/ 6 h 18"/>
                      <a:gd name="T8" fmla="*/ 56 w 57"/>
                      <a:gd name="T9" fmla="*/ 2 h 18"/>
                      <a:gd name="T10" fmla="*/ 51 w 57"/>
                      <a:gd name="T11" fmla="*/ 2 h 18"/>
                      <a:gd name="T12" fmla="*/ 29 w 57"/>
                      <a:gd name="T13" fmla="*/ 11 h 18"/>
                      <a:gd name="T14" fmla="*/ 6 w 57"/>
                      <a:gd name="T15" fmla="*/ 2 h 18"/>
                      <a:gd name="T16" fmla="*/ 1 w 57"/>
                      <a:gd name="T1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18">
                        <a:moveTo>
                          <a:pt x="1" y="2"/>
                        </a:moveTo>
                        <a:cubicBezTo>
                          <a:pt x="0" y="3"/>
                          <a:pt x="0" y="5"/>
                          <a:pt x="1" y="6"/>
                        </a:cubicBezTo>
                        <a:cubicBezTo>
                          <a:pt x="9" y="14"/>
                          <a:pt x="18" y="18"/>
                          <a:pt x="29" y="18"/>
                        </a:cubicBezTo>
                        <a:cubicBezTo>
                          <a:pt x="39" y="18"/>
                          <a:pt x="49" y="14"/>
                          <a:pt x="56" y="6"/>
                        </a:cubicBezTo>
                        <a:cubicBezTo>
                          <a:pt x="57" y="5"/>
                          <a:pt x="57" y="3"/>
                          <a:pt x="56" y="2"/>
                        </a:cubicBezTo>
                        <a:cubicBezTo>
                          <a:pt x="55" y="0"/>
                          <a:pt x="53" y="0"/>
                          <a:pt x="51" y="2"/>
                        </a:cubicBezTo>
                        <a:cubicBezTo>
                          <a:pt x="45" y="8"/>
                          <a:pt x="37" y="11"/>
                          <a:pt x="29" y="11"/>
                        </a:cubicBezTo>
                        <a:cubicBezTo>
                          <a:pt x="20" y="11"/>
                          <a:pt x="12" y="8"/>
                          <a:pt x="6" y="2"/>
                        </a:cubicBezTo>
                        <a:cubicBezTo>
                          <a:pt x="5" y="0"/>
                          <a:pt x="3" y="0"/>
                          <a:pt x="1" y="2"/>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94" name="Freeform 11"/>
                  <p:cNvSpPr>
                    <a:spLocks/>
                  </p:cNvSpPr>
                  <p:nvPr/>
                </p:nvSpPr>
                <p:spPr bwMode="auto">
                  <a:xfrm>
                    <a:off x="158750" y="-903288"/>
                    <a:ext cx="244475" cy="69850"/>
                  </a:xfrm>
                  <a:custGeom>
                    <a:avLst/>
                    <a:gdLst>
                      <a:gd name="T0" fmla="*/ 71 w 77"/>
                      <a:gd name="T1" fmla="*/ 2 h 22"/>
                      <a:gd name="T2" fmla="*/ 6 w 77"/>
                      <a:gd name="T3" fmla="*/ 2 h 22"/>
                      <a:gd name="T4" fmla="*/ 1 w 77"/>
                      <a:gd name="T5" fmla="*/ 2 h 22"/>
                      <a:gd name="T6" fmla="*/ 1 w 77"/>
                      <a:gd name="T7" fmla="*/ 6 h 22"/>
                      <a:gd name="T8" fmla="*/ 39 w 77"/>
                      <a:gd name="T9" fmla="*/ 22 h 22"/>
                      <a:gd name="T10" fmla="*/ 76 w 77"/>
                      <a:gd name="T11" fmla="*/ 6 h 22"/>
                      <a:gd name="T12" fmla="*/ 76 w 77"/>
                      <a:gd name="T13" fmla="*/ 2 h 22"/>
                      <a:gd name="T14" fmla="*/ 71 w 77"/>
                      <a:gd name="T15" fmla="*/ 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2">
                        <a:moveTo>
                          <a:pt x="71" y="2"/>
                        </a:moveTo>
                        <a:cubicBezTo>
                          <a:pt x="53" y="20"/>
                          <a:pt x="24" y="20"/>
                          <a:pt x="6" y="2"/>
                        </a:cubicBezTo>
                        <a:cubicBezTo>
                          <a:pt x="5" y="0"/>
                          <a:pt x="3" y="0"/>
                          <a:pt x="1" y="2"/>
                        </a:cubicBezTo>
                        <a:cubicBezTo>
                          <a:pt x="0" y="3"/>
                          <a:pt x="0" y="5"/>
                          <a:pt x="1" y="6"/>
                        </a:cubicBezTo>
                        <a:cubicBezTo>
                          <a:pt x="12" y="17"/>
                          <a:pt x="25" y="22"/>
                          <a:pt x="39" y="22"/>
                        </a:cubicBezTo>
                        <a:cubicBezTo>
                          <a:pt x="52" y="22"/>
                          <a:pt x="66" y="17"/>
                          <a:pt x="76" y="6"/>
                        </a:cubicBezTo>
                        <a:cubicBezTo>
                          <a:pt x="77" y="5"/>
                          <a:pt x="77" y="3"/>
                          <a:pt x="76" y="2"/>
                        </a:cubicBezTo>
                        <a:cubicBezTo>
                          <a:pt x="75" y="0"/>
                          <a:pt x="73" y="0"/>
                          <a:pt x="71" y="2"/>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grpSp>
            <p:sp>
              <p:nvSpPr>
                <p:cNvPr id="790" name="Oval 789"/>
                <p:cNvSpPr/>
                <p:nvPr/>
              </p:nvSpPr>
              <p:spPr>
                <a:xfrm>
                  <a:off x="-1042549" y="1266028"/>
                  <a:ext cx="543722" cy="543722"/>
                </a:xfrm>
                <a:prstGeom prst="ellipse">
                  <a:avLst/>
                </a:prstGeom>
                <a:noFill/>
                <a:ln w="12700" cap="rnd" cmpd="sng" algn="ctr">
                  <a:solidFill>
                    <a:srgbClr val="FFFFFF"/>
                  </a:solidFill>
                  <a:prstDash val="sysDot"/>
                </a:ln>
                <a:effectLst/>
              </p:spPr>
              <p:txBody>
                <a:bodyPr rtlCol="0" anchor="ctr"/>
                <a:lstStyle/>
                <a:p>
                  <a:pPr algn="ctr">
                    <a:defRPr/>
                  </a:pPr>
                  <a:endParaRPr lang="en-US" sz="800" kern="0" dirty="0">
                    <a:solidFill>
                      <a:srgbClr val="FFFFFF"/>
                    </a:solidFill>
                    <a:latin typeface="Calibri"/>
                  </a:endParaRPr>
                </a:p>
              </p:txBody>
            </p:sp>
          </p:grpSp>
          <p:sp>
            <p:nvSpPr>
              <p:cNvPr id="565" name="Rounded Rectangle 564"/>
              <p:cNvSpPr/>
              <p:nvPr/>
            </p:nvSpPr>
            <p:spPr bwMode="auto">
              <a:xfrm>
                <a:off x="2716431" y="2715734"/>
                <a:ext cx="751133" cy="751133"/>
              </a:xfrm>
              <a:prstGeom prst="roundRect">
                <a:avLst>
                  <a:gd name="adj" fmla="val 10327"/>
                </a:avLst>
              </a:prstGeom>
              <a:solidFill>
                <a:srgbClr val="666666"/>
              </a:solidFill>
              <a:ln w="12700" cap="flat" cmpd="sng" algn="ctr">
                <a:noFill/>
                <a:prstDash val="solid"/>
                <a:round/>
                <a:headEnd type="none" w="med" len="med"/>
                <a:tailEnd type="none" w="med" len="med"/>
              </a:ln>
              <a:effectLst/>
            </p:spPr>
            <p:txBody>
              <a:bodyPr vert="horz" wrap="none" lIns="18288" tIns="18288" rIns="18288" bIns="18288" numCol="1" rtlCol="0" anchor="b" anchorCtr="0" compatLnSpc="1">
                <a:prstTxWarp prst="textNoShape">
                  <a:avLst/>
                </a:prstTxWarp>
                <a:noAutofit/>
              </a:bodyPr>
              <a:lstStyle/>
              <a:p>
                <a:pPr algn="ctr" defTabSz="1393340" eaLnBrk="0" fontAlgn="base" hangingPunct="0">
                  <a:spcBef>
                    <a:spcPct val="0"/>
                  </a:spcBef>
                </a:pPr>
                <a:r>
                  <a:rPr lang="tr-TR" sz="700" dirty="0">
                    <a:solidFill>
                      <a:srgbClr val="FFFFFF"/>
                    </a:solidFill>
                    <a:latin typeface="Calibri"/>
                  </a:rPr>
                  <a:t>OTONOM </a:t>
                </a:r>
              </a:p>
              <a:p>
                <a:pPr algn="ctr" defTabSz="1393340" eaLnBrk="0" fontAlgn="base" hangingPunct="0">
                  <a:spcBef>
                    <a:spcPct val="0"/>
                  </a:spcBef>
                </a:pPr>
                <a:r>
                  <a:rPr lang="tr-TR" sz="700" dirty="0">
                    <a:solidFill>
                      <a:srgbClr val="FFFFFF"/>
                    </a:solidFill>
                    <a:latin typeface="Calibri"/>
                  </a:rPr>
                  <a:t>ARAÇLAR</a:t>
                </a:r>
                <a:endParaRPr lang="en-US" sz="700" dirty="0">
                  <a:solidFill>
                    <a:srgbClr val="FFFFFF"/>
                  </a:solidFill>
                  <a:latin typeface="Calibri"/>
                </a:endParaRPr>
              </a:p>
            </p:txBody>
          </p:sp>
          <p:grpSp>
            <p:nvGrpSpPr>
              <p:cNvPr id="566" name="Group 565"/>
              <p:cNvGrpSpPr/>
              <p:nvPr/>
            </p:nvGrpSpPr>
            <p:grpSpPr>
              <a:xfrm>
                <a:off x="2854355" y="2800459"/>
                <a:ext cx="416012" cy="345799"/>
                <a:chOff x="2584450" y="-1312863"/>
                <a:chExt cx="752475" cy="625475"/>
              </a:xfrm>
            </p:grpSpPr>
            <p:sp>
              <p:nvSpPr>
                <p:cNvPr id="773" name="Freeform 19"/>
                <p:cNvSpPr>
                  <a:spLocks/>
                </p:cNvSpPr>
                <p:nvPr/>
              </p:nvSpPr>
              <p:spPr bwMode="auto">
                <a:xfrm>
                  <a:off x="3197225" y="-792163"/>
                  <a:ext cx="101600" cy="50800"/>
                </a:xfrm>
                <a:custGeom>
                  <a:avLst/>
                  <a:gdLst>
                    <a:gd name="T0" fmla="*/ 0 w 32"/>
                    <a:gd name="T1" fmla="*/ 0 h 16"/>
                    <a:gd name="T2" fmla="*/ 32 w 32"/>
                    <a:gd name="T3" fmla="*/ 0 h 16"/>
                    <a:gd name="T4" fmla="*/ 32 w 32"/>
                    <a:gd name="T5" fmla="*/ 16 h 16"/>
                    <a:gd name="T6" fmla="*/ 7 w 32"/>
                    <a:gd name="T7" fmla="*/ 16 h 16"/>
                    <a:gd name="T8" fmla="*/ 0 w 32"/>
                    <a:gd name="T9" fmla="*/ 0 h 16"/>
                  </a:gdLst>
                  <a:ahLst/>
                  <a:cxnLst>
                    <a:cxn ang="0">
                      <a:pos x="T0" y="T1"/>
                    </a:cxn>
                    <a:cxn ang="0">
                      <a:pos x="T2" y="T3"/>
                    </a:cxn>
                    <a:cxn ang="0">
                      <a:pos x="T4" y="T5"/>
                    </a:cxn>
                    <a:cxn ang="0">
                      <a:pos x="T6" y="T7"/>
                    </a:cxn>
                    <a:cxn ang="0">
                      <a:pos x="T8" y="T9"/>
                    </a:cxn>
                  </a:cxnLst>
                  <a:rect l="0" t="0" r="r" b="b"/>
                  <a:pathLst>
                    <a:path w="32" h="16">
                      <a:moveTo>
                        <a:pt x="0" y="0"/>
                      </a:moveTo>
                      <a:cubicBezTo>
                        <a:pt x="32" y="0"/>
                        <a:pt x="32" y="0"/>
                        <a:pt x="32" y="0"/>
                      </a:cubicBezTo>
                      <a:cubicBezTo>
                        <a:pt x="32" y="16"/>
                        <a:pt x="32" y="16"/>
                        <a:pt x="32" y="16"/>
                      </a:cubicBezTo>
                      <a:cubicBezTo>
                        <a:pt x="7" y="16"/>
                        <a:pt x="7" y="16"/>
                        <a:pt x="7" y="16"/>
                      </a:cubicBezTo>
                      <a:cubicBezTo>
                        <a:pt x="7" y="10"/>
                        <a:pt x="4" y="4"/>
                        <a:pt x="0" y="0"/>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74" name="Rectangle 20"/>
                <p:cNvSpPr>
                  <a:spLocks noChangeArrowheads="1"/>
                </p:cNvSpPr>
                <p:nvPr/>
              </p:nvSpPr>
              <p:spPr bwMode="auto">
                <a:xfrm>
                  <a:off x="2876550" y="-1147763"/>
                  <a:ext cx="460375" cy="339725"/>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75" name="Oval 21"/>
                <p:cNvSpPr>
                  <a:spLocks noChangeArrowheads="1"/>
                </p:cNvSpPr>
                <p:nvPr/>
              </p:nvSpPr>
              <p:spPr bwMode="auto">
                <a:xfrm>
                  <a:off x="3098800" y="-792163"/>
                  <a:ext cx="104775" cy="104775"/>
                </a:xfrm>
                <a:prstGeom prst="ellipse">
                  <a:avLst/>
                </a:prstGeom>
                <a:solidFill>
                  <a:srgbClr val="57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76" name="Oval 22"/>
                <p:cNvSpPr>
                  <a:spLocks noChangeArrowheads="1"/>
                </p:cNvSpPr>
                <p:nvPr/>
              </p:nvSpPr>
              <p:spPr bwMode="auto">
                <a:xfrm>
                  <a:off x="3127375" y="-766763"/>
                  <a:ext cx="50800" cy="50800"/>
                </a:xfrm>
                <a:prstGeom prst="ellipse">
                  <a:avLst/>
                </a:prstGeom>
                <a:solidFill>
                  <a:srgbClr val="9C9D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77" name="Oval 23"/>
                <p:cNvSpPr>
                  <a:spLocks noChangeArrowheads="1"/>
                </p:cNvSpPr>
                <p:nvPr/>
              </p:nvSpPr>
              <p:spPr bwMode="auto">
                <a:xfrm>
                  <a:off x="2717800" y="-792163"/>
                  <a:ext cx="101600" cy="104775"/>
                </a:xfrm>
                <a:prstGeom prst="ellipse">
                  <a:avLst/>
                </a:prstGeom>
                <a:solidFill>
                  <a:srgbClr val="57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78" name="Oval 24"/>
                <p:cNvSpPr>
                  <a:spLocks noChangeArrowheads="1"/>
                </p:cNvSpPr>
                <p:nvPr/>
              </p:nvSpPr>
              <p:spPr bwMode="auto">
                <a:xfrm>
                  <a:off x="2743200" y="-766763"/>
                  <a:ext cx="50800" cy="50800"/>
                </a:xfrm>
                <a:prstGeom prst="ellipse">
                  <a:avLst/>
                </a:prstGeom>
                <a:solidFill>
                  <a:srgbClr val="9C9D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79" name="Freeform 25"/>
                <p:cNvSpPr>
                  <a:spLocks/>
                </p:cNvSpPr>
                <p:nvPr/>
              </p:nvSpPr>
              <p:spPr bwMode="auto">
                <a:xfrm>
                  <a:off x="2590800" y="-1062038"/>
                  <a:ext cx="514350" cy="320675"/>
                </a:xfrm>
                <a:custGeom>
                  <a:avLst/>
                  <a:gdLst>
                    <a:gd name="T0" fmla="*/ 0 w 162"/>
                    <a:gd name="T1" fmla="*/ 52 h 101"/>
                    <a:gd name="T2" fmla="*/ 0 w 162"/>
                    <a:gd name="T3" fmla="*/ 89 h 101"/>
                    <a:gd name="T4" fmla="*/ 12 w 162"/>
                    <a:gd name="T5" fmla="*/ 101 h 101"/>
                    <a:gd name="T6" fmla="*/ 26 w 162"/>
                    <a:gd name="T7" fmla="*/ 101 h 101"/>
                    <a:gd name="T8" fmla="*/ 26 w 162"/>
                    <a:gd name="T9" fmla="*/ 101 h 101"/>
                    <a:gd name="T10" fmla="*/ 34 w 162"/>
                    <a:gd name="T11" fmla="*/ 101 h 101"/>
                    <a:gd name="T12" fmla="*/ 56 w 162"/>
                    <a:gd name="T13" fmla="*/ 79 h 101"/>
                    <a:gd name="T14" fmla="*/ 78 w 162"/>
                    <a:gd name="T15" fmla="*/ 101 h 101"/>
                    <a:gd name="T16" fmla="*/ 155 w 162"/>
                    <a:gd name="T17" fmla="*/ 101 h 101"/>
                    <a:gd name="T18" fmla="*/ 162 w 162"/>
                    <a:gd name="T19" fmla="*/ 85 h 101"/>
                    <a:gd name="T20" fmla="*/ 85 w 162"/>
                    <a:gd name="T21" fmla="*/ 85 h 101"/>
                    <a:gd name="T22" fmla="*/ 85 w 162"/>
                    <a:gd name="T23" fmla="*/ 0 h 101"/>
                    <a:gd name="T24" fmla="*/ 67 w 162"/>
                    <a:gd name="T25" fmla="*/ 0 h 101"/>
                    <a:gd name="T26" fmla="*/ 17 w 162"/>
                    <a:gd name="T27" fmla="*/ 29 h 101"/>
                    <a:gd name="T28" fmla="*/ 9 w 162"/>
                    <a:gd name="T29" fmla="*/ 49 h 101"/>
                    <a:gd name="T30" fmla="*/ 3 w 162"/>
                    <a:gd name="T31" fmla="*/ 49 h 101"/>
                    <a:gd name="T32" fmla="*/ 0 w 162"/>
                    <a:gd name="T33" fmla="*/ 5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101">
                      <a:moveTo>
                        <a:pt x="0" y="52"/>
                      </a:moveTo>
                      <a:cubicBezTo>
                        <a:pt x="0" y="89"/>
                        <a:pt x="0" y="89"/>
                        <a:pt x="0" y="89"/>
                      </a:cubicBezTo>
                      <a:cubicBezTo>
                        <a:pt x="12" y="101"/>
                        <a:pt x="12" y="101"/>
                        <a:pt x="12" y="101"/>
                      </a:cubicBezTo>
                      <a:cubicBezTo>
                        <a:pt x="26" y="101"/>
                        <a:pt x="26" y="101"/>
                        <a:pt x="26" y="101"/>
                      </a:cubicBezTo>
                      <a:cubicBezTo>
                        <a:pt x="26" y="101"/>
                        <a:pt x="26" y="101"/>
                        <a:pt x="26" y="101"/>
                      </a:cubicBezTo>
                      <a:cubicBezTo>
                        <a:pt x="34" y="101"/>
                        <a:pt x="34" y="101"/>
                        <a:pt x="34" y="101"/>
                      </a:cubicBezTo>
                      <a:cubicBezTo>
                        <a:pt x="35" y="89"/>
                        <a:pt x="44" y="79"/>
                        <a:pt x="56" y="79"/>
                      </a:cubicBezTo>
                      <a:cubicBezTo>
                        <a:pt x="68" y="79"/>
                        <a:pt x="78" y="89"/>
                        <a:pt x="78" y="101"/>
                      </a:cubicBezTo>
                      <a:cubicBezTo>
                        <a:pt x="155" y="101"/>
                        <a:pt x="155" y="101"/>
                        <a:pt x="155" y="101"/>
                      </a:cubicBezTo>
                      <a:cubicBezTo>
                        <a:pt x="155" y="95"/>
                        <a:pt x="158" y="89"/>
                        <a:pt x="162" y="85"/>
                      </a:cubicBezTo>
                      <a:cubicBezTo>
                        <a:pt x="85" y="85"/>
                        <a:pt x="85" y="85"/>
                        <a:pt x="85" y="85"/>
                      </a:cubicBezTo>
                      <a:cubicBezTo>
                        <a:pt x="85" y="0"/>
                        <a:pt x="85" y="0"/>
                        <a:pt x="85" y="0"/>
                      </a:cubicBezTo>
                      <a:cubicBezTo>
                        <a:pt x="67" y="0"/>
                        <a:pt x="67" y="0"/>
                        <a:pt x="67" y="0"/>
                      </a:cubicBezTo>
                      <a:cubicBezTo>
                        <a:pt x="53" y="0"/>
                        <a:pt x="27" y="1"/>
                        <a:pt x="17" y="29"/>
                      </a:cubicBezTo>
                      <a:cubicBezTo>
                        <a:pt x="17" y="29"/>
                        <a:pt x="12" y="41"/>
                        <a:pt x="9" y="49"/>
                      </a:cubicBezTo>
                      <a:cubicBezTo>
                        <a:pt x="3" y="49"/>
                        <a:pt x="3" y="49"/>
                        <a:pt x="3" y="49"/>
                      </a:cubicBezTo>
                      <a:cubicBezTo>
                        <a:pt x="1" y="49"/>
                        <a:pt x="0" y="50"/>
                        <a:pt x="0" y="52"/>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80" name="Freeform 26"/>
                <p:cNvSpPr>
                  <a:spLocks/>
                </p:cNvSpPr>
                <p:nvPr/>
              </p:nvSpPr>
              <p:spPr bwMode="auto">
                <a:xfrm>
                  <a:off x="2644775" y="-1039813"/>
                  <a:ext cx="190500" cy="133350"/>
                </a:xfrm>
                <a:custGeom>
                  <a:avLst/>
                  <a:gdLst>
                    <a:gd name="T0" fmla="*/ 0 w 60"/>
                    <a:gd name="T1" fmla="*/ 42 h 42"/>
                    <a:gd name="T2" fmla="*/ 7 w 60"/>
                    <a:gd name="T3" fmla="*/ 24 h 42"/>
                    <a:gd name="T4" fmla="*/ 7 w 60"/>
                    <a:gd name="T5" fmla="*/ 24 h 42"/>
                    <a:gd name="T6" fmla="*/ 50 w 60"/>
                    <a:gd name="T7" fmla="*/ 0 h 42"/>
                    <a:gd name="T8" fmla="*/ 60 w 60"/>
                    <a:gd name="T9" fmla="*/ 0 h 42"/>
                    <a:gd name="T10" fmla="*/ 60 w 60"/>
                    <a:gd name="T11" fmla="*/ 42 h 42"/>
                    <a:gd name="T12" fmla="*/ 0 w 60"/>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60" h="42">
                      <a:moveTo>
                        <a:pt x="0" y="42"/>
                      </a:moveTo>
                      <a:cubicBezTo>
                        <a:pt x="3" y="33"/>
                        <a:pt x="6" y="26"/>
                        <a:pt x="7" y="24"/>
                      </a:cubicBezTo>
                      <a:cubicBezTo>
                        <a:pt x="7" y="24"/>
                        <a:pt x="7" y="24"/>
                        <a:pt x="7" y="24"/>
                      </a:cubicBezTo>
                      <a:cubicBezTo>
                        <a:pt x="15" y="3"/>
                        <a:pt x="33" y="0"/>
                        <a:pt x="50" y="0"/>
                      </a:cubicBezTo>
                      <a:cubicBezTo>
                        <a:pt x="60" y="0"/>
                        <a:pt x="60" y="0"/>
                        <a:pt x="60" y="0"/>
                      </a:cubicBezTo>
                      <a:cubicBezTo>
                        <a:pt x="60" y="42"/>
                        <a:pt x="60" y="42"/>
                        <a:pt x="60" y="42"/>
                      </a:cubicBezTo>
                      <a:lnTo>
                        <a:pt x="0" y="42"/>
                      </a:lnTo>
                      <a:close/>
                    </a:path>
                  </a:pathLst>
                </a:custGeom>
                <a:solidFill>
                  <a:srgbClr val="9C9D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81" name="Freeform 27"/>
                <p:cNvSpPr>
                  <a:spLocks/>
                </p:cNvSpPr>
                <p:nvPr/>
              </p:nvSpPr>
              <p:spPr bwMode="auto">
                <a:xfrm>
                  <a:off x="2584450" y="-804863"/>
                  <a:ext cx="76200" cy="66675"/>
                </a:xfrm>
                <a:custGeom>
                  <a:avLst/>
                  <a:gdLst>
                    <a:gd name="T0" fmla="*/ 1 w 24"/>
                    <a:gd name="T1" fmla="*/ 0 h 21"/>
                    <a:gd name="T2" fmla="*/ 5 w 24"/>
                    <a:gd name="T3" fmla="*/ 0 h 21"/>
                    <a:gd name="T4" fmla="*/ 23 w 24"/>
                    <a:gd name="T5" fmla="*/ 0 h 21"/>
                    <a:gd name="T6" fmla="*/ 24 w 24"/>
                    <a:gd name="T7" fmla="*/ 2 h 21"/>
                    <a:gd name="T8" fmla="*/ 24 w 24"/>
                    <a:gd name="T9" fmla="*/ 20 h 21"/>
                    <a:gd name="T10" fmla="*/ 23 w 24"/>
                    <a:gd name="T11" fmla="*/ 21 h 21"/>
                    <a:gd name="T12" fmla="*/ 15 w 24"/>
                    <a:gd name="T13" fmla="*/ 21 h 21"/>
                    <a:gd name="T14" fmla="*/ 0 w 24"/>
                    <a:gd name="T15" fmla="*/ 7 h 21"/>
                    <a:gd name="T16" fmla="*/ 0 w 24"/>
                    <a:gd name="T17" fmla="*/ 2 h 21"/>
                    <a:gd name="T18" fmla="*/ 1 w 24"/>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1">
                      <a:moveTo>
                        <a:pt x="1" y="0"/>
                      </a:moveTo>
                      <a:cubicBezTo>
                        <a:pt x="5" y="0"/>
                        <a:pt x="5" y="0"/>
                        <a:pt x="5" y="0"/>
                      </a:cubicBezTo>
                      <a:cubicBezTo>
                        <a:pt x="23" y="0"/>
                        <a:pt x="23" y="0"/>
                        <a:pt x="23" y="0"/>
                      </a:cubicBezTo>
                      <a:cubicBezTo>
                        <a:pt x="24" y="0"/>
                        <a:pt x="24" y="1"/>
                        <a:pt x="24" y="2"/>
                      </a:cubicBezTo>
                      <a:cubicBezTo>
                        <a:pt x="24" y="20"/>
                        <a:pt x="24" y="20"/>
                        <a:pt x="24" y="20"/>
                      </a:cubicBezTo>
                      <a:cubicBezTo>
                        <a:pt x="24" y="20"/>
                        <a:pt x="24" y="21"/>
                        <a:pt x="23" y="21"/>
                      </a:cubicBezTo>
                      <a:cubicBezTo>
                        <a:pt x="15" y="21"/>
                        <a:pt x="15" y="21"/>
                        <a:pt x="15" y="21"/>
                      </a:cubicBezTo>
                      <a:cubicBezTo>
                        <a:pt x="11" y="21"/>
                        <a:pt x="0" y="18"/>
                        <a:pt x="0" y="7"/>
                      </a:cubicBezTo>
                      <a:cubicBezTo>
                        <a:pt x="0" y="2"/>
                        <a:pt x="0" y="2"/>
                        <a:pt x="0" y="2"/>
                      </a:cubicBezTo>
                      <a:cubicBezTo>
                        <a:pt x="0" y="1"/>
                        <a:pt x="1" y="0"/>
                        <a:pt x="1" y="0"/>
                      </a:cubicBezTo>
                    </a:path>
                  </a:pathLst>
                </a:custGeom>
                <a:solidFill>
                  <a:srgbClr val="5756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82" name="Freeform 28"/>
                <p:cNvSpPr>
                  <a:spLocks/>
                </p:cNvSpPr>
                <p:nvPr/>
              </p:nvSpPr>
              <p:spPr bwMode="auto">
                <a:xfrm>
                  <a:off x="2797175" y="-884238"/>
                  <a:ext cx="38100" cy="9525"/>
                </a:xfrm>
                <a:custGeom>
                  <a:avLst/>
                  <a:gdLst>
                    <a:gd name="T0" fmla="*/ 0 w 12"/>
                    <a:gd name="T1" fmla="*/ 1 h 3"/>
                    <a:gd name="T2" fmla="*/ 2 w 12"/>
                    <a:gd name="T3" fmla="*/ 3 h 3"/>
                    <a:gd name="T4" fmla="*/ 11 w 12"/>
                    <a:gd name="T5" fmla="*/ 3 h 3"/>
                    <a:gd name="T6" fmla="*/ 12 w 12"/>
                    <a:gd name="T7" fmla="*/ 1 h 3"/>
                    <a:gd name="T8" fmla="*/ 11 w 12"/>
                    <a:gd name="T9" fmla="*/ 0 h 3"/>
                    <a:gd name="T10" fmla="*/ 2 w 12"/>
                    <a:gd name="T11" fmla="*/ 0 h 3"/>
                    <a:gd name="T12" fmla="*/ 0 w 1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12" h="3">
                      <a:moveTo>
                        <a:pt x="0" y="1"/>
                      </a:moveTo>
                      <a:cubicBezTo>
                        <a:pt x="0" y="2"/>
                        <a:pt x="1" y="3"/>
                        <a:pt x="2" y="3"/>
                      </a:cubicBezTo>
                      <a:cubicBezTo>
                        <a:pt x="11" y="3"/>
                        <a:pt x="11" y="3"/>
                        <a:pt x="11" y="3"/>
                      </a:cubicBezTo>
                      <a:cubicBezTo>
                        <a:pt x="12" y="3"/>
                        <a:pt x="12" y="2"/>
                        <a:pt x="12" y="1"/>
                      </a:cubicBezTo>
                      <a:cubicBezTo>
                        <a:pt x="12" y="0"/>
                        <a:pt x="12" y="0"/>
                        <a:pt x="11" y="0"/>
                      </a:cubicBezTo>
                      <a:cubicBezTo>
                        <a:pt x="2" y="0"/>
                        <a:pt x="2" y="0"/>
                        <a:pt x="2" y="0"/>
                      </a:cubicBezTo>
                      <a:cubicBezTo>
                        <a:pt x="1" y="0"/>
                        <a:pt x="0" y="0"/>
                        <a:pt x="0" y="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83" name="Freeform 29"/>
                <p:cNvSpPr>
                  <a:spLocks/>
                </p:cNvSpPr>
                <p:nvPr/>
              </p:nvSpPr>
              <p:spPr bwMode="auto">
                <a:xfrm>
                  <a:off x="2689225" y="-1039813"/>
                  <a:ext cx="146050" cy="133350"/>
                </a:xfrm>
                <a:custGeom>
                  <a:avLst/>
                  <a:gdLst>
                    <a:gd name="T0" fmla="*/ 0 w 46"/>
                    <a:gd name="T1" fmla="*/ 12 h 42"/>
                    <a:gd name="T2" fmla="*/ 36 w 46"/>
                    <a:gd name="T3" fmla="*/ 0 h 42"/>
                    <a:gd name="T4" fmla="*/ 46 w 46"/>
                    <a:gd name="T5" fmla="*/ 0 h 42"/>
                    <a:gd name="T6" fmla="*/ 46 w 46"/>
                    <a:gd name="T7" fmla="*/ 42 h 42"/>
                    <a:gd name="T8" fmla="*/ 30 w 46"/>
                    <a:gd name="T9" fmla="*/ 42 h 42"/>
                    <a:gd name="T10" fmla="*/ 0 w 46"/>
                    <a:gd name="T11" fmla="*/ 12 h 42"/>
                  </a:gdLst>
                  <a:ahLst/>
                  <a:cxnLst>
                    <a:cxn ang="0">
                      <a:pos x="T0" y="T1"/>
                    </a:cxn>
                    <a:cxn ang="0">
                      <a:pos x="T2" y="T3"/>
                    </a:cxn>
                    <a:cxn ang="0">
                      <a:pos x="T4" y="T5"/>
                    </a:cxn>
                    <a:cxn ang="0">
                      <a:pos x="T6" y="T7"/>
                    </a:cxn>
                    <a:cxn ang="0">
                      <a:pos x="T8" y="T9"/>
                    </a:cxn>
                    <a:cxn ang="0">
                      <a:pos x="T10" y="T11"/>
                    </a:cxn>
                  </a:cxnLst>
                  <a:rect l="0" t="0" r="r" b="b"/>
                  <a:pathLst>
                    <a:path w="46" h="42">
                      <a:moveTo>
                        <a:pt x="0" y="12"/>
                      </a:moveTo>
                      <a:cubicBezTo>
                        <a:pt x="10" y="2"/>
                        <a:pt x="23" y="0"/>
                        <a:pt x="36" y="0"/>
                      </a:cubicBezTo>
                      <a:cubicBezTo>
                        <a:pt x="46" y="0"/>
                        <a:pt x="46" y="0"/>
                        <a:pt x="46" y="0"/>
                      </a:cubicBezTo>
                      <a:cubicBezTo>
                        <a:pt x="46" y="42"/>
                        <a:pt x="46" y="42"/>
                        <a:pt x="46" y="42"/>
                      </a:cubicBezTo>
                      <a:cubicBezTo>
                        <a:pt x="30" y="42"/>
                        <a:pt x="30" y="42"/>
                        <a:pt x="30" y="42"/>
                      </a:cubicBezTo>
                      <a:lnTo>
                        <a:pt x="0" y="12"/>
                      </a:lnTo>
                      <a:close/>
                    </a:path>
                  </a:pathLst>
                </a:custGeom>
                <a:solidFill>
                  <a:srgbClr val="9C9D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84" name="Rectangle 30"/>
                <p:cNvSpPr>
                  <a:spLocks noChangeArrowheads="1"/>
                </p:cNvSpPr>
                <p:nvPr/>
              </p:nvSpPr>
              <p:spPr bwMode="auto">
                <a:xfrm>
                  <a:off x="2876550" y="-836613"/>
                  <a:ext cx="460375" cy="28575"/>
                </a:xfrm>
                <a:prstGeom prst="rect">
                  <a:avLst/>
                </a:prstGeom>
                <a:solidFill>
                  <a:srgbClr val="5756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85" name="Freeform 31"/>
                <p:cNvSpPr>
                  <a:spLocks noEditPoints="1"/>
                </p:cNvSpPr>
                <p:nvPr/>
              </p:nvSpPr>
              <p:spPr bwMode="auto">
                <a:xfrm>
                  <a:off x="3048000" y="-1065213"/>
                  <a:ext cx="155575" cy="158750"/>
                </a:xfrm>
                <a:custGeom>
                  <a:avLst/>
                  <a:gdLst>
                    <a:gd name="T0" fmla="*/ 49 w 49"/>
                    <a:gd name="T1" fmla="*/ 25 h 50"/>
                    <a:gd name="T2" fmla="*/ 25 w 49"/>
                    <a:gd name="T3" fmla="*/ 1 h 50"/>
                    <a:gd name="T4" fmla="*/ 0 w 49"/>
                    <a:gd name="T5" fmla="*/ 25 h 50"/>
                    <a:gd name="T6" fmla="*/ 25 w 49"/>
                    <a:gd name="T7" fmla="*/ 50 h 50"/>
                    <a:gd name="T8" fmla="*/ 16 w 49"/>
                    <a:gd name="T9" fmla="*/ 15 h 50"/>
                    <a:gd name="T10" fmla="*/ 23 w 49"/>
                    <a:gd name="T11" fmla="*/ 24 h 50"/>
                    <a:gd name="T12" fmla="*/ 23 w 49"/>
                    <a:gd name="T13" fmla="*/ 27 h 50"/>
                    <a:gd name="T14" fmla="*/ 16 w 49"/>
                    <a:gd name="T15" fmla="*/ 35 h 50"/>
                    <a:gd name="T16" fmla="*/ 23 w 49"/>
                    <a:gd name="T17" fmla="*/ 27 h 50"/>
                    <a:gd name="T18" fmla="*/ 34 w 49"/>
                    <a:gd name="T19" fmla="*/ 15 h 50"/>
                    <a:gd name="T20" fmla="*/ 26 w 49"/>
                    <a:gd name="T21" fmla="*/ 24 h 50"/>
                    <a:gd name="T22" fmla="*/ 35 w 49"/>
                    <a:gd name="T23" fmla="*/ 27 h 50"/>
                    <a:gd name="T24" fmla="*/ 26 w 49"/>
                    <a:gd name="T25" fmla="*/ 35 h 50"/>
                    <a:gd name="T26" fmla="*/ 35 w 49"/>
                    <a:gd name="T27" fmla="*/ 27 h 50"/>
                    <a:gd name="T28" fmla="*/ 26 w 49"/>
                    <a:gd name="T29" fmla="*/ 47 h 50"/>
                    <a:gd name="T30" fmla="*/ 32 w 49"/>
                    <a:gd name="T31" fmla="*/ 38 h 50"/>
                    <a:gd name="T32" fmla="*/ 17 w 49"/>
                    <a:gd name="T33" fmla="*/ 38 h 50"/>
                    <a:gd name="T34" fmla="*/ 23 w 49"/>
                    <a:gd name="T35" fmla="*/ 47 h 50"/>
                    <a:gd name="T36" fmla="*/ 14 w 49"/>
                    <a:gd name="T37" fmla="*/ 38 h 50"/>
                    <a:gd name="T38" fmla="*/ 9 w 49"/>
                    <a:gd name="T39" fmla="*/ 41 h 50"/>
                    <a:gd name="T40" fmla="*/ 3 w 49"/>
                    <a:gd name="T41" fmla="*/ 27 h 50"/>
                    <a:gd name="T42" fmla="*/ 13 w 49"/>
                    <a:gd name="T43" fmla="*/ 35 h 50"/>
                    <a:gd name="T44" fmla="*/ 3 w 49"/>
                    <a:gd name="T45" fmla="*/ 27 h 50"/>
                    <a:gd name="T46" fmla="*/ 12 w 49"/>
                    <a:gd name="T47" fmla="*/ 15 h 50"/>
                    <a:gd name="T48" fmla="*/ 3 w 49"/>
                    <a:gd name="T49" fmla="*/ 24 h 50"/>
                    <a:gd name="T50" fmla="*/ 13 w 49"/>
                    <a:gd name="T51" fmla="*/ 12 h 50"/>
                    <a:gd name="T52" fmla="*/ 9 w 49"/>
                    <a:gd name="T53" fmla="*/ 10 h 50"/>
                    <a:gd name="T54" fmla="*/ 13 w 49"/>
                    <a:gd name="T55" fmla="*/ 12 h 50"/>
                    <a:gd name="T56" fmla="*/ 23 w 49"/>
                    <a:gd name="T57" fmla="*/ 12 h 50"/>
                    <a:gd name="T58" fmla="*/ 23 w 49"/>
                    <a:gd name="T59" fmla="*/ 4 h 50"/>
                    <a:gd name="T60" fmla="*/ 27 w 49"/>
                    <a:gd name="T61" fmla="*/ 4 h 50"/>
                    <a:gd name="T62" fmla="*/ 26 w 49"/>
                    <a:gd name="T63" fmla="*/ 12 h 50"/>
                    <a:gd name="T64" fmla="*/ 27 w 49"/>
                    <a:gd name="T65" fmla="*/ 4 h 50"/>
                    <a:gd name="T66" fmla="*/ 36 w 49"/>
                    <a:gd name="T67" fmla="*/ 12 h 50"/>
                    <a:gd name="T68" fmla="*/ 40 w 49"/>
                    <a:gd name="T69" fmla="*/ 10 h 50"/>
                    <a:gd name="T70" fmla="*/ 46 w 49"/>
                    <a:gd name="T71" fmla="*/ 24 h 50"/>
                    <a:gd name="T72" fmla="*/ 37 w 49"/>
                    <a:gd name="T73" fmla="*/ 15 h 50"/>
                    <a:gd name="T74" fmla="*/ 46 w 49"/>
                    <a:gd name="T75" fmla="*/ 24 h 50"/>
                    <a:gd name="T76" fmla="*/ 37 w 49"/>
                    <a:gd name="T77" fmla="*/ 35 h 50"/>
                    <a:gd name="T78" fmla="*/ 46 w 49"/>
                    <a:gd name="T79" fmla="*/ 27 h 50"/>
                    <a:gd name="T80" fmla="*/ 31 w 49"/>
                    <a:gd name="T81" fmla="*/ 46 h 50"/>
                    <a:gd name="T82" fmla="*/ 42 w 49"/>
                    <a:gd name="T83"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 h="50">
                      <a:moveTo>
                        <a:pt x="25" y="50"/>
                      </a:moveTo>
                      <a:cubicBezTo>
                        <a:pt x="38" y="50"/>
                        <a:pt x="49" y="39"/>
                        <a:pt x="49" y="25"/>
                      </a:cubicBezTo>
                      <a:cubicBezTo>
                        <a:pt x="49" y="19"/>
                        <a:pt x="47" y="12"/>
                        <a:pt x="42" y="8"/>
                      </a:cubicBezTo>
                      <a:cubicBezTo>
                        <a:pt x="38" y="3"/>
                        <a:pt x="31" y="0"/>
                        <a:pt x="25" y="1"/>
                      </a:cubicBezTo>
                      <a:cubicBezTo>
                        <a:pt x="18" y="1"/>
                        <a:pt x="12" y="3"/>
                        <a:pt x="7" y="8"/>
                      </a:cubicBezTo>
                      <a:cubicBezTo>
                        <a:pt x="3" y="12"/>
                        <a:pt x="0" y="19"/>
                        <a:pt x="0" y="25"/>
                      </a:cubicBezTo>
                      <a:cubicBezTo>
                        <a:pt x="0" y="32"/>
                        <a:pt x="3" y="38"/>
                        <a:pt x="7" y="43"/>
                      </a:cubicBezTo>
                      <a:cubicBezTo>
                        <a:pt x="12" y="47"/>
                        <a:pt x="18" y="50"/>
                        <a:pt x="25" y="50"/>
                      </a:cubicBezTo>
                      <a:moveTo>
                        <a:pt x="14" y="24"/>
                      </a:moveTo>
                      <a:cubicBezTo>
                        <a:pt x="14" y="21"/>
                        <a:pt x="15" y="18"/>
                        <a:pt x="16" y="15"/>
                      </a:cubicBezTo>
                      <a:cubicBezTo>
                        <a:pt x="23" y="15"/>
                        <a:pt x="23" y="15"/>
                        <a:pt x="23" y="15"/>
                      </a:cubicBezTo>
                      <a:cubicBezTo>
                        <a:pt x="23" y="24"/>
                        <a:pt x="23" y="24"/>
                        <a:pt x="23" y="24"/>
                      </a:cubicBezTo>
                      <a:lnTo>
                        <a:pt x="14" y="24"/>
                      </a:lnTo>
                      <a:close/>
                      <a:moveTo>
                        <a:pt x="23" y="27"/>
                      </a:moveTo>
                      <a:cubicBezTo>
                        <a:pt x="23" y="35"/>
                        <a:pt x="23" y="35"/>
                        <a:pt x="23" y="35"/>
                      </a:cubicBezTo>
                      <a:cubicBezTo>
                        <a:pt x="16" y="35"/>
                        <a:pt x="16" y="35"/>
                        <a:pt x="16" y="35"/>
                      </a:cubicBezTo>
                      <a:cubicBezTo>
                        <a:pt x="15" y="32"/>
                        <a:pt x="14" y="30"/>
                        <a:pt x="14" y="27"/>
                      </a:cubicBezTo>
                      <a:lnTo>
                        <a:pt x="23" y="27"/>
                      </a:lnTo>
                      <a:close/>
                      <a:moveTo>
                        <a:pt x="26" y="15"/>
                      </a:moveTo>
                      <a:cubicBezTo>
                        <a:pt x="34" y="15"/>
                        <a:pt x="34" y="15"/>
                        <a:pt x="34" y="15"/>
                      </a:cubicBezTo>
                      <a:cubicBezTo>
                        <a:pt x="35" y="18"/>
                        <a:pt x="35" y="21"/>
                        <a:pt x="35" y="24"/>
                      </a:cubicBezTo>
                      <a:cubicBezTo>
                        <a:pt x="26" y="24"/>
                        <a:pt x="26" y="24"/>
                        <a:pt x="26" y="24"/>
                      </a:cubicBezTo>
                      <a:lnTo>
                        <a:pt x="26" y="15"/>
                      </a:lnTo>
                      <a:close/>
                      <a:moveTo>
                        <a:pt x="35" y="27"/>
                      </a:moveTo>
                      <a:cubicBezTo>
                        <a:pt x="35" y="30"/>
                        <a:pt x="35" y="32"/>
                        <a:pt x="34" y="35"/>
                      </a:cubicBezTo>
                      <a:cubicBezTo>
                        <a:pt x="26" y="35"/>
                        <a:pt x="26" y="35"/>
                        <a:pt x="26" y="35"/>
                      </a:cubicBezTo>
                      <a:cubicBezTo>
                        <a:pt x="26" y="27"/>
                        <a:pt x="26" y="27"/>
                        <a:pt x="26" y="27"/>
                      </a:cubicBezTo>
                      <a:lnTo>
                        <a:pt x="35" y="27"/>
                      </a:lnTo>
                      <a:close/>
                      <a:moveTo>
                        <a:pt x="32" y="38"/>
                      </a:moveTo>
                      <a:cubicBezTo>
                        <a:pt x="31" y="41"/>
                        <a:pt x="29" y="44"/>
                        <a:pt x="26" y="47"/>
                      </a:cubicBezTo>
                      <a:cubicBezTo>
                        <a:pt x="26" y="38"/>
                        <a:pt x="26" y="38"/>
                        <a:pt x="26" y="38"/>
                      </a:cubicBezTo>
                      <a:lnTo>
                        <a:pt x="32" y="38"/>
                      </a:lnTo>
                      <a:close/>
                      <a:moveTo>
                        <a:pt x="23" y="47"/>
                      </a:moveTo>
                      <a:cubicBezTo>
                        <a:pt x="21" y="44"/>
                        <a:pt x="19" y="41"/>
                        <a:pt x="17" y="38"/>
                      </a:cubicBezTo>
                      <a:cubicBezTo>
                        <a:pt x="23" y="38"/>
                        <a:pt x="23" y="38"/>
                        <a:pt x="23" y="38"/>
                      </a:cubicBezTo>
                      <a:lnTo>
                        <a:pt x="23" y="47"/>
                      </a:lnTo>
                      <a:close/>
                      <a:moveTo>
                        <a:pt x="7" y="38"/>
                      </a:moveTo>
                      <a:cubicBezTo>
                        <a:pt x="14" y="38"/>
                        <a:pt x="14" y="38"/>
                        <a:pt x="14" y="38"/>
                      </a:cubicBezTo>
                      <a:cubicBezTo>
                        <a:pt x="15" y="41"/>
                        <a:pt x="17" y="44"/>
                        <a:pt x="19" y="46"/>
                      </a:cubicBezTo>
                      <a:cubicBezTo>
                        <a:pt x="15" y="45"/>
                        <a:pt x="12" y="43"/>
                        <a:pt x="9" y="41"/>
                      </a:cubicBezTo>
                      <a:cubicBezTo>
                        <a:pt x="9" y="40"/>
                        <a:pt x="8" y="39"/>
                        <a:pt x="7" y="38"/>
                      </a:cubicBezTo>
                      <a:moveTo>
                        <a:pt x="3" y="27"/>
                      </a:moveTo>
                      <a:cubicBezTo>
                        <a:pt x="11" y="27"/>
                        <a:pt x="11" y="27"/>
                        <a:pt x="11" y="27"/>
                      </a:cubicBezTo>
                      <a:cubicBezTo>
                        <a:pt x="11" y="30"/>
                        <a:pt x="12" y="32"/>
                        <a:pt x="13" y="35"/>
                      </a:cubicBezTo>
                      <a:cubicBezTo>
                        <a:pt x="5" y="35"/>
                        <a:pt x="5" y="35"/>
                        <a:pt x="5" y="35"/>
                      </a:cubicBezTo>
                      <a:cubicBezTo>
                        <a:pt x="4" y="32"/>
                        <a:pt x="3" y="30"/>
                        <a:pt x="3" y="27"/>
                      </a:cubicBezTo>
                      <a:moveTo>
                        <a:pt x="5" y="15"/>
                      </a:moveTo>
                      <a:cubicBezTo>
                        <a:pt x="12" y="15"/>
                        <a:pt x="12" y="15"/>
                        <a:pt x="12" y="15"/>
                      </a:cubicBezTo>
                      <a:cubicBezTo>
                        <a:pt x="12" y="18"/>
                        <a:pt x="11" y="21"/>
                        <a:pt x="11" y="24"/>
                      </a:cubicBezTo>
                      <a:cubicBezTo>
                        <a:pt x="3" y="24"/>
                        <a:pt x="3" y="24"/>
                        <a:pt x="3" y="24"/>
                      </a:cubicBezTo>
                      <a:cubicBezTo>
                        <a:pt x="3" y="21"/>
                        <a:pt x="4" y="18"/>
                        <a:pt x="5" y="15"/>
                      </a:cubicBezTo>
                      <a:moveTo>
                        <a:pt x="13" y="12"/>
                      </a:moveTo>
                      <a:cubicBezTo>
                        <a:pt x="7" y="12"/>
                        <a:pt x="7" y="12"/>
                        <a:pt x="7" y="12"/>
                      </a:cubicBezTo>
                      <a:cubicBezTo>
                        <a:pt x="8" y="11"/>
                        <a:pt x="9" y="11"/>
                        <a:pt x="9" y="10"/>
                      </a:cubicBezTo>
                      <a:cubicBezTo>
                        <a:pt x="12" y="8"/>
                        <a:pt x="15" y="6"/>
                        <a:pt x="18" y="5"/>
                      </a:cubicBezTo>
                      <a:cubicBezTo>
                        <a:pt x="16" y="7"/>
                        <a:pt x="15" y="10"/>
                        <a:pt x="13" y="12"/>
                      </a:cubicBezTo>
                      <a:moveTo>
                        <a:pt x="23" y="4"/>
                      </a:moveTo>
                      <a:cubicBezTo>
                        <a:pt x="23" y="12"/>
                        <a:pt x="23" y="12"/>
                        <a:pt x="23" y="12"/>
                      </a:cubicBezTo>
                      <a:cubicBezTo>
                        <a:pt x="17" y="12"/>
                        <a:pt x="17" y="12"/>
                        <a:pt x="17" y="12"/>
                      </a:cubicBezTo>
                      <a:cubicBezTo>
                        <a:pt x="18" y="9"/>
                        <a:pt x="20" y="6"/>
                        <a:pt x="23" y="4"/>
                      </a:cubicBezTo>
                      <a:cubicBezTo>
                        <a:pt x="23" y="4"/>
                        <a:pt x="23" y="4"/>
                        <a:pt x="23" y="4"/>
                      </a:cubicBezTo>
                      <a:moveTo>
                        <a:pt x="27" y="4"/>
                      </a:moveTo>
                      <a:cubicBezTo>
                        <a:pt x="29" y="6"/>
                        <a:pt x="31" y="9"/>
                        <a:pt x="33" y="12"/>
                      </a:cubicBezTo>
                      <a:cubicBezTo>
                        <a:pt x="26" y="12"/>
                        <a:pt x="26" y="12"/>
                        <a:pt x="26" y="12"/>
                      </a:cubicBezTo>
                      <a:cubicBezTo>
                        <a:pt x="26" y="4"/>
                        <a:pt x="26" y="4"/>
                        <a:pt x="26" y="4"/>
                      </a:cubicBezTo>
                      <a:cubicBezTo>
                        <a:pt x="27" y="4"/>
                        <a:pt x="27" y="4"/>
                        <a:pt x="27" y="4"/>
                      </a:cubicBezTo>
                      <a:moveTo>
                        <a:pt x="42" y="12"/>
                      </a:moveTo>
                      <a:cubicBezTo>
                        <a:pt x="36" y="12"/>
                        <a:pt x="36" y="12"/>
                        <a:pt x="36" y="12"/>
                      </a:cubicBezTo>
                      <a:cubicBezTo>
                        <a:pt x="35" y="10"/>
                        <a:pt x="33" y="7"/>
                        <a:pt x="32" y="5"/>
                      </a:cubicBezTo>
                      <a:cubicBezTo>
                        <a:pt x="35" y="6"/>
                        <a:pt x="38" y="8"/>
                        <a:pt x="40" y="10"/>
                      </a:cubicBezTo>
                      <a:cubicBezTo>
                        <a:pt x="41" y="11"/>
                        <a:pt x="41" y="11"/>
                        <a:pt x="42" y="12"/>
                      </a:cubicBezTo>
                      <a:moveTo>
                        <a:pt x="46" y="24"/>
                      </a:moveTo>
                      <a:cubicBezTo>
                        <a:pt x="38" y="24"/>
                        <a:pt x="38" y="24"/>
                        <a:pt x="38" y="24"/>
                      </a:cubicBezTo>
                      <a:cubicBezTo>
                        <a:pt x="38" y="21"/>
                        <a:pt x="38" y="18"/>
                        <a:pt x="37" y="15"/>
                      </a:cubicBezTo>
                      <a:cubicBezTo>
                        <a:pt x="44" y="15"/>
                        <a:pt x="44" y="15"/>
                        <a:pt x="44" y="15"/>
                      </a:cubicBezTo>
                      <a:cubicBezTo>
                        <a:pt x="45" y="18"/>
                        <a:pt x="46" y="21"/>
                        <a:pt x="46" y="24"/>
                      </a:cubicBezTo>
                      <a:moveTo>
                        <a:pt x="44" y="35"/>
                      </a:moveTo>
                      <a:cubicBezTo>
                        <a:pt x="37" y="35"/>
                        <a:pt x="37" y="35"/>
                        <a:pt x="37" y="35"/>
                      </a:cubicBezTo>
                      <a:cubicBezTo>
                        <a:pt x="38" y="32"/>
                        <a:pt x="38" y="30"/>
                        <a:pt x="38" y="27"/>
                      </a:cubicBezTo>
                      <a:cubicBezTo>
                        <a:pt x="46" y="27"/>
                        <a:pt x="46" y="27"/>
                        <a:pt x="46" y="27"/>
                      </a:cubicBezTo>
                      <a:cubicBezTo>
                        <a:pt x="46" y="30"/>
                        <a:pt x="45" y="32"/>
                        <a:pt x="44" y="35"/>
                      </a:cubicBezTo>
                      <a:moveTo>
                        <a:pt x="31" y="46"/>
                      </a:moveTo>
                      <a:cubicBezTo>
                        <a:pt x="33" y="44"/>
                        <a:pt x="34" y="41"/>
                        <a:pt x="36" y="38"/>
                      </a:cubicBezTo>
                      <a:cubicBezTo>
                        <a:pt x="42" y="38"/>
                        <a:pt x="42" y="38"/>
                        <a:pt x="42" y="38"/>
                      </a:cubicBezTo>
                      <a:cubicBezTo>
                        <a:pt x="39" y="42"/>
                        <a:pt x="35" y="45"/>
                        <a:pt x="31" y="4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86" name="Freeform 32"/>
                <p:cNvSpPr>
                  <a:spLocks/>
                </p:cNvSpPr>
                <p:nvPr/>
              </p:nvSpPr>
              <p:spPr bwMode="auto">
                <a:xfrm>
                  <a:off x="2800350" y="-1220788"/>
                  <a:ext cx="88900" cy="88900"/>
                </a:xfrm>
                <a:custGeom>
                  <a:avLst/>
                  <a:gdLst>
                    <a:gd name="T0" fmla="*/ 0 w 28"/>
                    <a:gd name="T1" fmla="*/ 25 h 28"/>
                    <a:gd name="T2" fmla="*/ 3 w 28"/>
                    <a:gd name="T3" fmla="*/ 28 h 28"/>
                    <a:gd name="T4" fmla="*/ 6 w 28"/>
                    <a:gd name="T5" fmla="*/ 25 h 28"/>
                    <a:gd name="T6" fmla="*/ 24 w 28"/>
                    <a:gd name="T7" fmla="*/ 7 h 28"/>
                    <a:gd name="T8" fmla="*/ 28 w 28"/>
                    <a:gd name="T9" fmla="*/ 3 h 28"/>
                    <a:gd name="T10" fmla="*/ 24 w 28"/>
                    <a:gd name="T11" fmla="*/ 0 h 28"/>
                    <a:gd name="T12" fmla="*/ 7 w 28"/>
                    <a:gd name="T13" fmla="*/ 7 h 28"/>
                    <a:gd name="T14" fmla="*/ 0 w 28"/>
                    <a:gd name="T15" fmla="*/ 25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0" y="25"/>
                      </a:moveTo>
                      <a:cubicBezTo>
                        <a:pt x="0" y="27"/>
                        <a:pt x="1" y="28"/>
                        <a:pt x="3" y="28"/>
                      </a:cubicBezTo>
                      <a:cubicBezTo>
                        <a:pt x="5" y="28"/>
                        <a:pt x="6" y="27"/>
                        <a:pt x="6" y="25"/>
                      </a:cubicBezTo>
                      <a:cubicBezTo>
                        <a:pt x="6" y="15"/>
                        <a:pt x="14" y="7"/>
                        <a:pt x="24" y="7"/>
                      </a:cubicBezTo>
                      <a:cubicBezTo>
                        <a:pt x="26" y="7"/>
                        <a:pt x="28" y="5"/>
                        <a:pt x="28" y="3"/>
                      </a:cubicBezTo>
                      <a:cubicBezTo>
                        <a:pt x="28" y="2"/>
                        <a:pt x="26" y="0"/>
                        <a:pt x="24" y="0"/>
                      </a:cubicBezTo>
                      <a:cubicBezTo>
                        <a:pt x="18" y="0"/>
                        <a:pt x="11" y="3"/>
                        <a:pt x="7" y="7"/>
                      </a:cubicBezTo>
                      <a:cubicBezTo>
                        <a:pt x="2" y="12"/>
                        <a:pt x="0" y="18"/>
                        <a:pt x="0"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87" name="Freeform 33"/>
                <p:cNvSpPr>
                  <a:spLocks/>
                </p:cNvSpPr>
                <p:nvPr/>
              </p:nvSpPr>
              <p:spPr bwMode="auto">
                <a:xfrm>
                  <a:off x="2752725" y="-1265238"/>
                  <a:ext cx="136525" cy="133350"/>
                </a:xfrm>
                <a:custGeom>
                  <a:avLst/>
                  <a:gdLst>
                    <a:gd name="T0" fmla="*/ 43 w 43"/>
                    <a:gd name="T1" fmla="*/ 3 h 42"/>
                    <a:gd name="T2" fmla="*/ 39 w 43"/>
                    <a:gd name="T3" fmla="*/ 0 h 42"/>
                    <a:gd name="T4" fmla="*/ 12 w 43"/>
                    <a:gd name="T5" fmla="*/ 11 h 42"/>
                    <a:gd name="T6" fmla="*/ 0 w 43"/>
                    <a:gd name="T7" fmla="*/ 39 h 42"/>
                    <a:gd name="T8" fmla="*/ 4 w 43"/>
                    <a:gd name="T9" fmla="*/ 42 h 42"/>
                    <a:gd name="T10" fmla="*/ 7 w 43"/>
                    <a:gd name="T11" fmla="*/ 39 h 42"/>
                    <a:gd name="T12" fmla="*/ 16 w 43"/>
                    <a:gd name="T13" fmla="*/ 16 h 42"/>
                    <a:gd name="T14" fmla="*/ 39 w 43"/>
                    <a:gd name="T15" fmla="*/ 6 h 42"/>
                    <a:gd name="T16" fmla="*/ 43 w 43"/>
                    <a:gd name="T17"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2">
                      <a:moveTo>
                        <a:pt x="43" y="3"/>
                      </a:moveTo>
                      <a:cubicBezTo>
                        <a:pt x="43" y="1"/>
                        <a:pt x="41" y="0"/>
                        <a:pt x="39" y="0"/>
                      </a:cubicBezTo>
                      <a:cubicBezTo>
                        <a:pt x="29" y="0"/>
                        <a:pt x="19" y="4"/>
                        <a:pt x="12" y="11"/>
                      </a:cubicBezTo>
                      <a:cubicBezTo>
                        <a:pt x="4" y="19"/>
                        <a:pt x="0" y="28"/>
                        <a:pt x="0" y="39"/>
                      </a:cubicBezTo>
                      <a:cubicBezTo>
                        <a:pt x="0" y="41"/>
                        <a:pt x="2" y="42"/>
                        <a:pt x="4" y="42"/>
                      </a:cubicBezTo>
                      <a:cubicBezTo>
                        <a:pt x="5" y="42"/>
                        <a:pt x="7" y="41"/>
                        <a:pt x="7" y="39"/>
                      </a:cubicBezTo>
                      <a:cubicBezTo>
                        <a:pt x="7" y="30"/>
                        <a:pt x="10" y="22"/>
                        <a:pt x="16" y="16"/>
                      </a:cubicBezTo>
                      <a:cubicBezTo>
                        <a:pt x="23" y="10"/>
                        <a:pt x="31" y="6"/>
                        <a:pt x="39" y="6"/>
                      </a:cubicBezTo>
                      <a:cubicBezTo>
                        <a:pt x="41" y="6"/>
                        <a:pt x="43" y="5"/>
                        <a:pt x="43"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88" name="Freeform 34"/>
                <p:cNvSpPr>
                  <a:spLocks/>
                </p:cNvSpPr>
                <p:nvPr/>
              </p:nvSpPr>
              <p:spPr bwMode="auto">
                <a:xfrm>
                  <a:off x="2708275" y="-1312863"/>
                  <a:ext cx="180975" cy="180975"/>
                </a:xfrm>
                <a:custGeom>
                  <a:avLst/>
                  <a:gdLst>
                    <a:gd name="T0" fmla="*/ 7 w 57"/>
                    <a:gd name="T1" fmla="*/ 54 h 57"/>
                    <a:gd name="T2" fmla="*/ 53 w 57"/>
                    <a:gd name="T3" fmla="*/ 7 h 57"/>
                    <a:gd name="T4" fmla="*/ 57 w 57"/>
                    <a:gd name="T5" fmla="*/ 4 h 57"/>
                    <a:gd name="T6" fmla="*/ 53 w 57"/>
                    <a:gd name="T7" fmla="*/ 0 h 57"/>
                    <a:gd name="T8" fmla="*/ 16 w 57"/>
                    <a:gd name="T9" fmla="*/ 16 h 57"/>
                    <a:gd name="T10" fmla="*/ 0 w 57"/>
                    <a:gd name="T11" fmla="*/ 54 h 57"/>
                    <a:gd name="T12" fmla="*/ 3 w 57"/>
                    <a:gd name="T13" fmla="*/ 57 h 57"/>
                    <a:gd name="T14" fmla="*/ 7 w 57"/>
                    <a:gd name="T15" fmla="*/ 54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7">
                      <a:moveTo>
                        <a:pt x="7" y="54"/>
                      </a:moveTo>
                      <a:cubicBezTo>
                        <a:pt x="7" y="28"/>
                        <a:pt x="28" y="7"/>
                        <a:pt x="53" y="7"/>
                      </a:cubicBezTo>
                      <a:cubicBezTo>
                        <a:pt x="55" y="7"/>
                        <a:pt x="57" y="6"/>
                        <a:pt x="57" y="4"/>
                      </a:cubicBezTo>
                      <a:cubicBezTo>
                        <a:pt x="57" y="2"/>
                        <a:pt x="55" y="0"/>
                        <a:pt x="53" y="0"/>
                      </a:cubicBezTo>
                      <a:cubicBezTo>
                        <a:pt x="39" y="0"/>
                        <a:pt x="25" y="6"/>
                        <a:pt x="16" y="16"/>
                      </a:cubicBezTo>
                      <a:cubicBezTo>
                        <a:pt x="6" y="26"/>
                        <a:pt x="0" y="39"/>
                        <a:pt x="0" y="54"/>
                      </a:cubicBezTo>
                      <a:cubicBezTo>
                        <a:pt x="0" y="56"/>
                        <a:pt x="1" y="57"/>
                        <a:pt x="3" y="57"/>
                      </a:cubicBezTo>
                      <a:cubicBezTo>
                        <a:pt x="5" y="57"/>
                        <a:pt x="7" y="56"/>
                        <a:pt x="7" y="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grpSp>
          <p:sp>
            <p:nvSpPr>
              <p:cNvPr id="567" name="Rounded Rectangle 566"/>
              <p:cNvSpPr/>
              <p:nvPr/>
            </p:nvSpPr>
            <p:spPr bwMode="auto">
              <a:xfrm>
                <a:off x="1915219" y="2718229"/>
                <a:ext cx="751133" cy="751134"/>
              </a:xfrm>
              <a:prstGeom prst="roundRect">
                <a:avLst>
                  <a:gd name="adj" fmla="val 9693"/>
                </a:avLst>
              </a:prstGeom>
              <a:solidFill>
                <a:srgbClr val="666666"/>
              </a:solidFill>
              <a:ln w="12700" cap="flat" cmpd="sng" algn="ctr">
                <a:noFill/>
                <a:prstDash val="solid"/>
                <a:round/>
                <a:headEnd type="none" w="med" len="med"/>
                <a:tailEnd type="none" w="med" len="med"/>
              </a:ln>
              <a:effectLst/>
            </p:spPr>
            <p:txBody>
              <a:bodyPr vert="horz" wrap="square" lIns="18288" tIns="18288" rIns="18288" bIns="18288" numCol="1" rtlCol="0" anchor="t" anchorCtr="0" compatLnSpc="1">
                <a:prstTxWarp prst="textNoShape">
                  <a:avLst/>
                </a:prstTxWarp>
                <a:noAutofit/>
              </a:bodyPr>
              <a:lstStyle/>
              <a:p>
                <a:pPr algn="ctr"/>
                <a:endParaRPr lang="en-US" sz="800" dirty="0">
                  <a:solidFill>
                    <a:srgbClr val="FFFFFF"/>
                  </a:solidFill>
                  <a:latin typeface="Calibri"/>
                </a:endParaRPr>
              </a:p>
              <a:p>
                <a:pPr algn="ctr"/>
                <a:endParaRPr lang="en-US" sz="800" dirty="0">
                  <a:solidFill>
                    <a:srgbClr val="FFFFFF"/>
                  </a:solidFill>
                  <a:latin typeface="Calibri"/>
                </a:endParaRPr>
              </a:p>
              <a:p>
                <a:pPr algn="ctr"/>
                <a:endParaRPr lang="tr-TR" sz="700" dirty="0">
                  <a:solidFill>
                    <a:srgbClr val="FFFFFF"/>
                  </a:solidFill>
                  <a:latin typeface="Calibri"/>
                </a:endParaRPr>
              </a:p>
              <a:p>
                <a:pPr algn="ctr"/>
                <a:r>
                  <a:rPr lang="tr-TR" sz="700" dirty="0">
                    <a:solidFill>
                      <a:srgbClr val="FFFFFF"/>
                    </a:solidFill>
                    <a:latin typeface="Calibri"/>
                  </a:rPr>
                  <a:t>ROBOTİK</a:t>
                </a:r>
              </a:p>
            </p:txBody>
          </p:sp>
          <p:grpSp>
            <p:nvGrpSpPr>
              <p:cNvPr id="568" name="Group 567"/>
              <p:cNvGrpSpPr/>
              <p:nvPr/>
            </p:nvGrpSpPr>
            <p:grpSpPr>
              <a:xfrm>
                <a:off x="2173250" y="2816186"/>
                <a:ext cx="235070" cy="326762"/>
                <a:chOff x="1363663" y="-1230313"/>
                <a:chExt cx="447675" cy="622300"/>
              </a:xfrm>
            </p:grpSpPr>
            <p:sp>
              <p:nvSpPr>
                <p:cNvPr id="766" name="Freeform 12"/>
                <p:cNvSpPr>
                  <a:spLocks/>
                </p:cNvSpPr>
                <p:nvPr/>
              </p:nvSpPr>
              <p:spPr bwMode="auto">
                <a:xfrm>
                  <a:off x="1697038" y="-1230313"/>
                  <a:ext cx="114300" cy="114300"/>
                </a:xfrm>
                <a:custGeom>
                  <a:avLst/>
                  <a:gdLst>
                    <a:gd name="T0" fmla="*/ 31 w 36"/>
                    <a:gd name="T1" fmla="*/ 12 h 36"/>
                    <a:gd name="T2" fmla="*/ 29 w 36"/>
                    <a:gd name="T3" fmla="*/ 31 h 36"/>
                    <a:gd name="T4" fmla="*/ 28 w 36"/>
                    <a:gd name="T5" fmla="*/ 32 h 36"/>
                    <a:gd name="T6" fmla="*/ 9 w 36"/>
                    <a:gd name="T7" fmla="*/ 30 h 36"/>
                    <a:gd name="T8" fmla="*/ 4 w 36"/>
                    <a:gd name="T9" fmla="*/ 24 h 36"/>
                    <a:gd name="T10" fmla="*/ 6 w 36"/>
                    <a:gd name="T11" fmla="*/ 5 h 36"/>
                    <a:gd name="T12" fmla="*/ 7 w 36"/>
                    <a:gd name="T13" fmla="*/ 5 h 36"/>
                    <a:gd name="T14" fmla="*/ 26 w 36"/>
                    <a:gd name="T15" fmla="*/ 6 h 36"/>
                    <a:gd name="T16" fmla="*/ 31 w 36"/>
                    <a:gd name="T17"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6">
                      <a:moveTo>
                        <a:pt x="31" y="12"/>
                      </a:moveTo>
                      <a:cubicBezTo>
                        <a:pt x="36" y="17"/>
                        <a:pt x="35" y="26"/>
                        <a:pt x="29" y="31"/>
                      </a:cubicBezTo>
                      <a:cubicBezTo>
                        <a:pt x="28" y="32"/>
                        <a:pt x="28" y="32"/>
                        <a:pt x="28" y="32"/>
                      </a:cubicBezTo>
                      <a:cubicBezTo>
                        <a:pt x="23" y="36"/>
                        <a:pt x="14" y="36"/>
                        <a:pt x="9" y="30"/>
                      </a:cubicBezTo>
                      <a:cubicBezTo>
                        <a:pt x="4" y="24"/>
                        <a:pt x="4" y="24"/>
                        <a:pt x="4" y="24"/>
                      </a:cubicBezTo>
                      <a:cubicBezTo>
                        <a:pt x="0" y="19"/>
                        <a:pt x="0" y="10"/>
                        <a:pt x="6" y="5"/>
                      </a:cubicBezTo>
                      <a:cubicBezTo>
                        <a:pt x="7" y="5"/>
                        <a:pt x="7" y="5"/>
                        <a:pt x="7" y="5"/>
                      </a:cubicBezTo>
                      <a:cubicBezTo>
                        <a:pt x="13" y="0"/>
                        <a:pt x="21" y="0"/>
                        <a:pt x="26" y="6"/>
                      </a:cubicBezTo>
                      <a:lnTo>
                        <a:pt x="31" y="12"/>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67" name="Freeform 13"/>
                <p:cNvSpPr>
                  <a:spLocks/>
                </p:cNvSpPr>
                <p:nvPr/>
              </p:nvSpPr>
              <p:spPr bwMode="auto">
                <a:xfrm>
                  <a:off x="1763713" y="-1131888"/>
                  <a:ext cx="31750" cy="38100"/>
                </a:xfrm>
                <a:custGeom>
                  <a:avLst/>
                  <a:gdLst>
                    <a:gd name="T0" fmla="*/ 10 w 10"/>
                    <a:gd name="T1" fmla="*/ 0 h 12"/>
                    <a:gd name="T2" fmla="*/ 10 w 10"/>
                    <a:gd name="T3" fmla="*/ 10 h 12"/>
                    <a:gd name="T4" fmla="*/ 7 w 10"/>
                    <a:gd name="T5" fmla="*/ 12 h 12"/>
                    <a:gd name="T6" fmla="*/ 2 w 10"/>
                    <a:gd name="T7" fmla="*/ 12 h 12"/>
                    <a:gd name="T8" fmla="*/ 0 w 10"/>
                    <a:gd name="T9" fmla="*/ 10 h 12"/>
                    <a:gd name="T10" fmla="*/ 0 w 10"/>
                    <a:gd name="T11" fmla="*/ 5 h 12"/>
                    <a:gd name="T12" fmla="*/ 8 w 10"/>
                    <a:gd name="T13" fmla="*/ 1 h 12"/>
                    <a:gd name="T14" fmla="*/ 10 w 10"/>
                    <a:gd name="T15" fmla="*/ 0 h 12"/>
                    <a:gd name="T16" fmla="*/ 10 w 1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2">
                      <a:moveTo>
                        <a:pt x="10" y="0"/>
                      </a:moveTo>
                      <a:cubicBezTo>
                        <a:pt x="10" y="10"/>
                        <a:pt x="10" y="10"/>
                        <a:pt x="10" y="10"/>
                      </a:cubicBezTo>
                      <a:cubicBezTo>
                        <a:pt x="10" y="11"/>
                        <a:pt x="8" y="12"/>
                        <a:pt x="7" y="12"/>
                      </a:cubicBezTo>
                      <a:cubicBezTo>
                        <a:pt x="2" y="12"/>
                        <a:pt x="2" y="12"/>
                        <a:pt x="2" y="12"/>
                      </a:cubicBezTo>
                      <a:cubicBezTo>
                        <a:pt x="1" y="12"/>
                        <a:pt x="0" y="11"/>
                        <a:pt x="0" y="10"/>
                      </a:cubicBezTo>
                      <a:cubicBezTo>
                        <a:pt x="0" y="5"/>
                        <a:pt x="0" y="5"/>
                        <a:pt x="0" y="5"/>
                      </a:cubicBezTo>
                      <a:cubicBezTo>
                        <a:pt x="3" y="5"/>
                        <a:pt x="6" y="4"/>
                        <a:pt x="8" y="1"/>
                      </a:cubicBezTo>
                      <a:cubicBezTo>
                        <a:pt x="10" y="0"/>
                        <a:pt x="10" y="0"/>
                        <a:pt x="10" y="0"/>
                      </a:cubicBezTo>
                      <a:cubicBezTo>
                        <a:pt x="10" y="0"/>
                        <a:pt x="10" y="0"/>
                        <a:pt x="10" y="0"/>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68" name="Freeform 14"/>
                <p:cNvSpPr>
                  <a:spLocks/>
                </p:cNvSpPr>
                <p:nvPr/>
              </p:nvSpPr>
              <p:spPr bwMode="auto">
                <a:xfrm>
                  <a:off x="1430338" y="-655638"/>
                  <a:ext cx="320675" cy="47625"/>
                </a:xfrm>
                <a:custGeom>
                  <a:avLst/>
                  <a:gdLst>
                    <a:gd name="T0" fmla="*/ 93 w 101"/>
                    <a:gd name="T1" fmla="*/ 0 h 15"/>
                    <a:gd name="T2" fmla="*/ 101 w 101"/>
                    <a:gd name="T3" fmla="*/ 8 h 15"/>
                    <a:gd name="T4" fmla="*/ 93 w 101"/>
                    <a:gd name="T5" fmla="*/ 15 h 15"/>
                    <a:gd name="T6" fmla="*/ 8 w 101"/>
                    <a:gd name="T7" fmla="*/ 15 h 15"/>
                    <a:gd name="T8" fmla="*/ 0 w 101"/>
                    <a:gd name="T9" fmla="*/ 8 h 15"/>
                    <a:gd name="T10" fmla="*/ 2 w 101"/>
                    <a:gd name="T11" fmla="*/ 2 h 15"/>
                    <a:gd name="T12" fmla="*/ 8 w 101"/>
                    <a:gd name="T13" fmla="*/ 0 h 15"/>
                    <a:gd name="T14" fmla="*/ 93 w 101"/>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15">
                      <a:moveTo>
                        <a:pt x="93" y="0"/>
                      </a:moveTo>
                      <a:cubicBezTo>
                        <a:pt x="97" y="0"/>
                        <a:pt x="101" y="3"/>
                        <a:pt x="101" y="8"/>
                      </a:cubicBezTo>
                      <a:cubicBezTo>
                        <a:pt x="101" y="12"/>
                        <a:pt x="97" y="15"/>
                        <a:pt x="93" y="15"/>
                      </a:cubicBezTo>
                      <a:cubicBezTo>
                        <a:pt x="8" y="15"/>
                        <a:pt x="8" y="15"/>
                        <a:pt x="8" y="15"/>
                      </a:cubicBezTo>
                      <a:cubicBezTo>
                        <a:pt x="3" y="15"/>
                        <a:pt x="0" y="12"/>
                        <a:pt x="0" y="8"/>
                      </a:cubicBezTo>
                      <a:cubicBezTo>
                        <a:pt x="0" y="5"/>
                        <a:pt x="1" y="4"/>
                        <a:pt x="2" y="2"/>
                      </a:cubicBezTo>
                      <a:cubicBezTo>
                        <a:pt x="4" y="1"/>
                        <a:pt x="5" y="0"/>
                        <a:pt x="8" y="0"/>
                      </a:cubicBezTo>
                      <a:lnTo>
                        <a:pt x="9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69" name="Freeform 15"/>
                <p:cNvSpPr>
                  <a:spLocks/>
                </p:cNvSpPr>
                <p:nvPr/>
              </p:nvSpPr>
              <p:spPr bwMode="auto">
                <a:xfrm>
                  <a:off x="1484313" y="-1189038"/>
                  <a:ext cx="231775" cy="88900"/>
                </a:xfrm>
                <a:custGeom>
                  <a:avLst/>
                  <a:gdLst>
                    <a:gd name="T0" fmla="*/ 69 w 73"/>
                    <a:gd name="T1" fmla="*/ 13 h 28"/>
                    <a:gd name="T2" fmla="*/ 73 w 73"/>
                    <a:gd name="T3" fmla="*/ 18 h 28"/>
                    <a:gd name="T4" fmla="*/ 29 w 73"/>
                    <a:gd name="T5" fmla="*/ 23 h 28"/>
                    <a:gd name="T6" fmla="*/ 10 w 73"/>
                    <a:gd name="T7" fmla="*/ 28 h 28"/>
                    <a:gd name="T8" fmla="*/ 10 w 73"/>
                    <a:gd name="T9" fmla="*/ 27 h 28"/>
                    <a:gd name="T10" fmla="*/ 0 w 73"/>
                    <a:gd name="T11" fmla="*/ 7 h 28"/>
                    <a:gd name="T12" fmla="*/ 26 w 73"/>
                    <a:gd name="T13" fmla="*/ 6 h 28"/>
                    <a:gd name="T14" fmla="*/ 65 w 73"/>
                    <a:gd name="T15" fmla="*/ 0 h 28"/>
                    <a:gd name="T16" fmla="*/ 69 w 73"/>
                    <a:gd name="T17"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28">
                      <a:moveTo>
                        <a:pt x="69" y="13"/>
                      </a:moveTo>
                      <a:cubicBezTo>
                        <a:pt x="73" y="18"/>
                        <a:pt x="73" y="18"/>
                        <a:pt x="73" y="18"/>
                      </a:cubicBezTo>
                      <a:cubicBezTo>
                        <a:pt x="29" y="23"/>
                        <a:pt x="29" y="23"/>
                        <a:pt x="29" y="23"/>
                      </a:cubicBezTo>
                      <a:cubicBezTo>
                        <a:pt x="10" y="28"/>
                        <a:pt x="10" y="28"/>
                        <a:pt x="10" y="28"/>
                      </a:cubicBezTo>
                      <a:cubicBezTo>
                        <a:pt x="10" y="27"/>
                        <a:pt x="10" y="27"/>
                        <a:pt x="10" y="27"/>
                      </a:cubicBezTo>
                      <a:cubicBezTo>
                        <a:pt x="10" y="19"/>
                        <a:pt x="6" y="11"/>
                        <a:pt x="0" y="7"/>
                      </a:cubicBezTo>
                      <a:cubicBezTo>
                        <a:pt x="26" y="6"/>
                        <a:pt x="26" y="6"/>
                        <a:pt x="26" y="6"/>
                      </a:cubicBezTo>
                      <a:cubicBezTo>
                        <a:pt x="65" y="0"/>
                        <a:pt x="65" y="0"/>
                        <a:pt x="65" y="0"/>
                      </a:cubicBezTo>
                      <a:cubicBezTo>
                        <a:pt x="65" y="5"/>
                        <a:pt x="66" y="9"/>
                        <a:pt x="69" y="13"/>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70" name="Freeform 16"/>
                <p:cNvSpPr>
                  <a:spLocks noEditPoints="1"/>
                </p:cNvSpPr>
                <p:nvPr/>
              </p:nvSpPr>
              <p:spPr bwMode="auto">
                <a:xfrm>
                  <a:off x="1481138" y="-887413"/>
                  <a:ext cx="212725" cy="228600"/>
                </a:xfrm>
                <a:custGeom>
                  <a:avLst/>
                  <a:gdLst>
                    <a:gd name="T0" fmla="*/ 59 w 67"/>
                    <a:gd name="T1" fmla="*/ 0 h 72"/>
                    <a:gd name="T2" fmla="*/ 67 w 67"/>
                    <a:gd name="T3" fmla="*/ 72 h 72"/>
                    <a:gd name="T4" fmla="*/ 0 w 67"/>
                    <a:gd name="T5" fmla="*/ 72 h 72"/>
                    <a:gd name="T6" fmla="*/ 8 w 67"/>
                    <a:gd name="T7" fmla="*/ 0 h 72"/>
                    <a:gd name="T8" fmla="*/ 34 w 67"/>
                    <a:gd name="T9" fmla="*/ 21 h 72"/>
                    <a:gd name="T10" fmla="*/ 59 w 67"/>
                    <a:gd name="T11" fmla="*/ 0 h 72"/>
                    <a:gd name="T12" fmla="*/ 64 w 67"/>
                    <a:gd name="T13" fmla="*/ 69 h 72"/>
                    <a:gd name="T14" fmla="*/ 61 w 67"/>
                    <a:gd name="T15" fmla="*/ 42 h 72"/>
                    <a:gd name="T16" fmla="*/ 54 w 67"/>
                    <a:gd name="T17" fmla="*/ 42 h 72"/>
                    <a:gd name="T18" fmla="*/ 54 w 67"/>
                    <a:gd name="T19" fmla="*/ 63 h 72"/>
                    <a:gd name="T20" fmla="*/ 6 w 67"/>
                    <a:gd name="T21" fmla="*/ 63 h 72"/>
                    <a:gd name="T22" fmla="*/ 5 w 67"/>
                    <a:gd name="T23" fmla="*/ 69 h 72"/>
                    <a:gd name="T24" fmla="*/ 64 w 67"/>
                    <a:gd name="T25" fmla="*/ 6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72">
                      <a:moveTo>
                        <a:pt x="59" y="0"/>
                      </a:moveTo>
                      <a:cubicBezTo>
                        <a:pt x="67" y="72"/>
                        <a:pt x="67" y="72"/>
                        <a:pt x="67" y="72"/>
                      </a:cubicBezTo>
                      <a:cubicBezTo>
                        <a:pt x="0" y="72"/>
                        <a:pt x="0" y="72"/>
                        <a:pt x="0" y="72"/>
                      </a:cubicBezTo>
                      <a:cubicBezTo>
                        <a:pt x="8" y="0"/>
                        <a:pt x="8" y="0"/>
                        <a:pt x="8" y="0"/>
                      </a:cubicBezTo>
                      <a:cubicBezTo>
                        <a:pt x="11" y="12"/>
                        <a:pt x="21" y="21"/>
                        <a:pt x="34" y="21"/>
                      </a:cubicBezTo>
                      <a:cubicBezTo>
                        <a:pt x="46" y="21"/>
                        <a:pt x="57" y="12"/>
                        <a:pt x="59" y="0"/>
                      </a:cubicBezTo>
                      <a:moveTo>
                        <a:pt x="64" y="69"/>
                      </a:moveTo>
                      <a:cubicBezTo>
                        <a:pt x="61" y="42"/>
                        <a:pt x="61" y="42"/>
                        <a:pt x="61" y="42"/>
                      </a:cubicBezTo>
                      <a:cubicBezTo>
                        <a:pt x="54" y="42"/>
                        <a:pt x="54" y="42"/>
                        <a:pt x="54" y="42"/>
                      </a:cubicBezTo>
                      <a:cubicBezTo>
                        <a:pt x="54" y="63"/>
                        <a:pt x="54" y="63"/>
                        <a:pt x="54" y="63"/>
                      </a:cubicBezTo>
                      <a:cubicBezTo>
                        <a:pt x="6" y="63"/>
                        <a:pt x="6" y="63"/>
                        <a:pt x="6" y="63"/>
                      </a:cubicBezTo>
                      <a:cubicBezTo>
                        <a:pt x="5" y="69"/>
                        <a:pt x="5" y="69"/>
                        <a:pt x="5" y="69"/>
                      </a:cubicBezTo>
                      <a:lnTo>
                        <a:pt x="64" y="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71" name="Freeform 17"/>
                <p:cNvSpPr>
                  <a:spLocks noEditPoints="1"/>
                </p:cNvSpPr>
                <p:nvPr/>
              </p:nvSpPr>
              <p:spPr bwMode="auto">
                <a:xfrm>
                  <a:off x="1512888" y="-979488"/>
                  <a:ext cx="149225" cy="149225"/>
                </a:xfrm>
                <a:custGeom>
                  <a:avLst/>
                  <a:gdLst>
                    <a:gd name="T0" fmla="*/ 24 w 47"/>
                    <a:gd name="T1" fmla="*/ 0 h 47"/>
                    <a:gd name="T2" fmla="*/ 47 w 47"/>
                    <a:gd name="T3" fmla="*/ 23 h 47"/>
                    <a:gd name="T4" fmla="*/ 24 w 47"/>
                    <a:gd name="T5" fmla="*/ 47 h 47"/>
                    <a:gd name="T6" fmla="*/ 0 w 47"/>
                    <a:gd name="T7" fmla="*/ 23 h 47"/>
                    <a:gd name="T8" fmla="*/ 24 w 47"/>
                    <a:gd name="T9" fmla="*/ 0 h 47"/>
                    <a:gd name="T10" fmla="*/ 40 w 47"/>
                    <a:gd name="T11" fmla="*/ 25 h 47"/>
                    <a:gd name="T12" fmla="*/ 44 w 47"/>
                    <a:gd name="T13" fmla="*/ 24 h 47"/>
                    <a:gd name="T14" fmla="*/ 38 w 47"/>
                    <a:gd name="T15" fmla="*/ 10 h 47"/>
                    <a:gd name="T16" fmla="*/ 24 w 47"/>
                    <a:gd name="T17" fmla="*/ 4 h 47"/>
                    <a:gd name="T18" fmla="*/ 23 w 47"/>
                    <a:gd name="T19" fmla="*/ 8 h 47"/>
                    <a:gd name="T20" fmla="*/ 23 w 47"/>
                    <a:gd name="T21" fmla="*/ 12 h 47"/>
                    <a:gd name="T22" fmla="*/ 32 w 47"/>
                    <a:gd name="T23" fmla="*/ 16 h 47"/>
                    <a:gd name="T24" fmla="*/ 35 w 47"/>
                    <a:gd name="T25" fmla="*/ 24 h 47"/>
                    <a:gd name="T26" fmla="*/ 40 w 47"/>
                    <a:gd name="T27" fmla="*/ 2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4" y="0"/>
                      </a:moveTo>
                      <a:cubicBezTo>
                        <a:pt x="37" y="0"/>
                        <a:pt x="47" y="10"/>
                        <a:pt x="47" y="23"/>
                      </a:cubicBezTo>
                      <a:cubicBezTo>
                        <a:pt x="47" y="36"/>
                        <a:pt x="37" y="47"/>
                        <a:pt x="24" y="47"/>
                      </a:cubicBezTo>
                      <a:cubicBezTo>
                        <a:pt x="11" y="47"/>
                        <a:pt x="0" y="36"/>
                        <a:pt x="0" y="23"/>
                      </a:cubicBezTo>
                      <a:cubicBezTo>
                        <a:pt x="0" y="10"/>
                        <a:pt x="11" y="0"/>
                        <a:pt x="24" y="0"/>
                      </a:cubicBezTo>
                      <a:moveTo>
                        <a:pt x="40" y="25"/>
                      </a:moveTo>
                      <a:cubicBezTo>
                        <a:pt x="42" y="25"/>
                        <a:pt x="44" y="24"/>
                        <a:pt x="44" y="24"/>
                      </a:cubicBezTo>
                      <a:cubicBezTo>
                        <a:pt x="44" y="19"/>
                        <a:pt x="41" y="14"/>
                        <a:pt x="38" y="10"/>
                      </a:cubicBezTo>
                      <a:cubicBezTo>
                        <a:pt x="34" y="6"/>
                        <a:pt x="29" y="4"/>
                        <a:pt x="24" y="4"/>
                      </a:cubicBezTo>
                      <a:cubicBezTo>
                        <a:pt x="23" y="4"/>
                        <a:pt x="23" y="6"/>
                        <a:pt x="23" y="8"/>
                      </a:cubicBezTo>
                      <a:cubicBezTo>
                        <a:pt x="23" y="10"/>
                        <a:pt x="23" y="12"/>
                        <a:pt x="23" y="12"/>
                      </a:cubicBezTo>
                      <a:cubicBezTo>
                        <a:pt x="27" y="13"/>
                        <a:pt x="30" y="14"/>
                        <a:pt x="32" y="16"/>
                      </a:cubicBezTo>
                      <a:cubicBezTo>
                        <a:pt x="34" y="18"/>
                        <a:pt x="35" y="21"/>
                        <a:pt x="35" y="24"/>
                      </a:cubicBezTo>
                      <a:cubicBezTo>
                        <a:pt x="35" y="25"/>
                        <a:pt x="37" y="25"/>
                        <a:pt x="40"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72" name="Freeform 18"/>
                <p:cNvSpPr>
                  <a:spLocks noEditPoints="1"/>
                </p:cNvSpPr>
                <p:nvPr/>
              </p:nvSpPr>
              <p:spPr bwMode="auto">
                <a:xfrm>
                  <a:off x="1363663" y="-1173163"/>
                  <a:ext cx="212725" cy="244475"/>
                </a:xfrm>
                <a:custGeom>
                  <a:avLst/>
                  <a:gdLst>
                    <a:gd name="T0" fmla="*/ 42 w 67"/>
                    <a:gd name="T1" fmla="*/ 35 h 77"/>
                    <a:gd name="T2" fmla="*/ 67 w 67"/>
                    <a:gd name="T3" fmla="*/ 58 h 77"/>
                    <a:gd name="T4" fmla="*/ 45 w 67"/>
                    <a:gd name="T5" fmla="*/ 77 h 77"/>
                    <a:gd name="T6" fmla="*/ 19 w 67"/>
                    <a:gd name="T7" fmla="*/ 45 h 77"/>
                    <a:gd name="T8" fmla="*/ 0 w 67"/>
                    <a:gd name="T9" fmla="*/ 23 h 77"/>
                    <a:gd name="T10" fmla="*/ 23 w 67"/>
                    <a:gd name="T11" fmla="*/ 0 h 77"/>
                    <a:gd name="T12" fmla="*/ 45 w 67"/>
                    <a:gd name="T13" fmla="*/ 23 h 77"/>
                    <a:gd name="T14" fmla="*/ 42 w 67"/>
                    <a:gd name="T15" fmla="*/ 35 h 77"/>
                    <a:gd name="T16" fmla="*/ 23 w 67"/>
                    <a:gd name="T17" fmla="*/ 9 h 77"/>
                    <a:gd name="T18" fmla="*/ 22 w 67"/>
                    <a:gd name="T19" fmla="*/ 4 h 77"/>
                    <a:gd name="T20" fmla="*/ 10 w 67"/>
                    <a:gd name="T21" fmla="*/ 10 h 77"/>
                    <a:gd name="T22" fmla="*/ 4 w 67"/>
                    <a:gd name="T23" fmla="*/ 23 h 77"/>
                    <a:gd name="T24" fmla="*/ 8 w 67"/>
                    <a:gd name="T25" fmla="*/ 24 h 77"/>
                    <a:gd name="T26" fmla="*/ 12 w 67"/>
                    <a:gd name="T27" fmla="*/ 24 h 77"/>
                    <a:gd name="T28" fmla="*/ 16 w 67"/>
                    <a:gd name="T29" fmla="*/ 16 h 77"/>
                    <a:gd name="T30" fmla="*/ 23 w 67"/>
                    <a:gd name="T31" fmla="*/ 13 h 77"/>
                    <a:gd name="T32" fmla="*/ 23 w 67"/>
                    <a:gd name="T33" fmla="*/ 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77">
                      <a:moveTo>
                        <a:pt x="42" y="35"/>
                      </a:moveTo>
                      <a:cubicBezTo>
                        <a:pt x="67" y="58"/>
                        <a:pt x="67" y="58"/>
                        <a:pt x="67" y="58"/>
                      </a:cubicBezTo>
                      <a:cubicBezTo>
                        <a:pt x="57" y="60"/>
                        <a:pt x="48" y="67"/>
                        <a:pt x="45" y="77"/>
                      </a:cubicBezTo>
                      <a:cubicBezTo>
                        <a:pt x="19" y="45"/>
                        <a:pt x="19" y="45"/>
                        <a:pt x="19" y="45"/>
                      </a:cubicBezTo>
                      <a:cubicBezTo>
                        <a:pt x="8" y="43"/>
                        <a:pt x="0" y="34"/>
                        <a:pt x="0" y="23"/>
                      </a:cubicBezTo>
                      <a:cubicBezTo>
                        <a:pt x="0" y="10"/>
                        <a:pt x="10" y="0"/>
                        <a:pt x="23" y="0"/>
                      </a:cubicBezTo>
                      <a:cubicBezTo>
                        <a:pt x="35" y="0"/>
                        <a:pt x="45" y="10"/>
                        <a:pt x="45" y="23"/>
                      </a:cubicBezTo>
                      <a:cubicBezTo>
                        <a:pt x="45" y="27"/>
                        <a:pt x="44" y="31"/>
                        <a:pt x="42" y="35"/>
                      </a:cubicBezTo>
                      <a:moveTo>
                        <a:pt x="23" y="9"/>
                      </a:moveTo>
                      <a:cubicBezTo>
                        <a:pt x="23" y="6"/>
                        <a:pt x="23" y="4"/>
                        <a:pt x="22" y="4"/>
                      </a:cubicBezTo>
                      <a:cubicBezTo>
                        <a:pt x="18" y="5"/>
                        <a:pt x="13" y="7"/>
                        <a:pt x="10" y="10"/>
                      </a:cubicBezTo>
                      <a:cubicBezTo>
                        <a:pt x="6" y="14"/>
                        <a:pt x="4" y="18"/>
                        <a:pt x="4" y="23"/>
                      </a:cubicBezTo>
                      <a:cubicBezTo>
                        <a:pt x="4" y="24"/>
                        <a:pt x="6" y="24"/>
                        <a:pt x="8" y="24"/>
                      </a:cubicBezTo>
                      <a:cubicBezTo>
                        <a:pt x="10" y="24"/>
                        <a:pt x="12" y="24"/>
                        <a:pt x="12" y="24"/>
                      </a:cubicBezTo>
                      <a:cubicBezTo>
                        <a:pt x="12" y="21"/>
                        <a:pt x="14" y="18"/>
                        <a:pt x="16" y="16"/>
                      </a:cubicBezTo>
                      <a:cubicBezTo>
                        <a:pt x="17" y="14"/>
                        <a:pt x="20" y="13"/>
                        <a:pt x="23" y="13"/>
                      </a:cubicBezTo>
                      <a:cubicBezTo>
                        <a:pt x="23" y="13"/>
                        <a:pt x="23" y="11"/>
                        <a:pt x="23"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grpSp>
          <p:sp>
            <p:nvSpPr>
              <p:cNvPr id="569" name="Rounded Rectangle 568"/>
              <p:cNvSpPr/>
              <p:nvPr/>
            </p:nvSpPr>
            <p:spPr bwMode="auto">
              <a:xfrm>
                <a:off x="320139" y="3550010"/>
                <a:ext cx="751133" cy="751133"/>
              </a:xfrm>
              <a:prstGeom prst="roundRect">
                <a:avLst>
                  <a:gd name="adj" fmla="val 10644"/>
                </a:avLst>
              </a:prstGeom>
              <a:solidFill>
                <a:srgbClr val="666666"/>
              </a:solidFill>
              <a:ln w="12700" cap="flat" cmpd="sng" algn="ctr">
                <a:noFill/>
                <a:prstDash val="solid"/>
                <a:round/>
                <a:headEnd type="none" w="med" len="med"/>
                <a:tailEnd type="none" w="med" len="med"/>
              </a:ln>
              <a:effectLst/>
            </p:spPr>
            <p:txBody>
              <a:bodyPr vert="horz" wrap="square" lIns="18288" tIns="18288" rIns="18288" bIns="18288" numCol="1" rtlCol="0" anchor="b" anchorCtr="0" compatLnSpc="1">
                <a:prstTxWarp prst="textNoShape">
                  <a:avLst/>
                </a:prstTxWarp>
                <a:noAutofit/>
              </a:bodyPr>
              <a:lstStyle/>
              <a:p>
                <a:pPr algn="ctr"/>
                <a:r>
                  <a:rPr lang="tr-TR" sz="700" dirty="0">
                    <a:solidFill>
                      <a:srgbClr val="FFFFFF"/>
                    </a:solidFill>
                    <a:latin typeface="Calibri"/>
                  </a:rPr>
                  <a:t>AĞ </a:t>
                </a:r>
              </a:p>
              <a:p>
                <a:pPr algn="ctr"/>
                <a:r>
                  <a:rPr lang="tr-TR" sz="700" dirty="0">
                    <a:solidFill>
                      <a:srgbClr val="FFFFFF"/>
                    </a:solidFill>
                    <a:latin typeface="Calibri"/>
                  </a:rPr>
                  <a:t>TASARIMI</a:t>
                </a:r>
                <a:endParaRPr lang="en-US" sz="700" dirty="0">
                  <a:solidFill>
                    <a:srgbClr val="FFFFFF"/>
                  </a:solidFill>
                  <a:latin typeface="Calibri"/>
                </a:endParaRPr>
              </a:p>
            </p:txBody>
          </p:sp>
          <p:grpSp>
            <p:nvGrpSpPr>
              <p:cNvPr id="570" name="Group 569"/>
              <p:cNvGrpSpPr/>
              <p:nvPr/>
            </p:nvGrpSpPr>
            <p:grpSpPr>
              <a:xfrm>
                <a:off x="518191" y="3648276"/>
                <a:ext cx="355028" cy="355028"/>
                <a:chOff x="1566863" y="-163513"/>
                <a:chExt cx="504825" cy="504825"/>
              </a:xfrm>
            </p:grpSpPr>
            <p:sp>
              <p:nvSpPr>
                <p:cNvPr id="752" name="Freeform 48"/>
                <p:cNvSpPr>
                  <a:spLocks noEditPoints="1"/>
                </p:cNvSpPr>
                <p:nvPr/>
              </p:nvSpPr>
              <p:spPr bwMode="auto">
                <a:xfrm>
                  <a:off x="1566863" y="-163513"/>
                  <a:ext cx="504825" cy="504825"/>
                </a:xfrm>
                <a:custGeom>
                  <a:avLst/>
                  <a:gdLst>
                    <a:gd name="T0" fmla="*/ 142 w 159"/>
                    <a:gd name="T1" fmla="*/ 0 h 159"/>
                    <a:gd name="T2" fmla="*/ 17 w 159"/>
                    <a:gd name="T3" fmla="*/ 0 h 159"/>
                    <a:gd name="T4" fmla="*/ 0 w 159"/>
                    <a:gd name="T5" fmla="*/ 17 h 159"/>
                    <a:gd name="T6" fmla="*/ 0 w 159"/>
                    <a:gd name="T7" fmla="*/ 142 h 159"/>
                    <a:gd name="T8" fmla="*/ 17 w 159"/>
                    <a:gd name="T9" fmla="*/ 159 h 159"/>
                    <a:gd name="T10" fmla="*/ 142 w 159"/>
                    <a:gd name="T11" fmla="*/ 159 h 159"/>
                    <a:gd name="T12" fmla="*/ 159 w 159"/>
                    <a:gd name="T13" fmla="*/ 142 h 159"/>
                    <a:gd name="T14" fmla="*/ 159 w 159"/>
                    <a:gd name="T15" fmla="*/ 17 h 159"/>
                    <a:gd name="T16" fmla="*/ 142 w 159"/>
                    <a:gd name="T17" fmla="*/ 0 h 159"/>
                    <a:gd name="T18" fmla="*/ 154 w 159"/>
                    <a:gd name="T19" fmla="*/ 142 h 159"/>
                    <a:gd name="T20" fmla="*/ 142 w 159"/>
                    <a:gd name="T21" fmla="*/ 155 h 159"/>
                    <a:gd name="T22" fmla="*/ 17 w 159"/>
                    <a:gd name="T23" fmla="*/ 155 h 159"/>
                    <a:gd name="T24" fmla="*/ 5 w 159"/>
                    <a:gd name="T25" fmla="*/ 142 h 159"/>
                    <a:gd name="T26" fmla="*/ 5 w 159"/>
                    <a:gd name="T27" fmla="*/ 119 h 159"/>
                    <a:gd name="T28" fmla="*/ 6 w 159"/>
                    <a:gd name="T29" fmla="*/ 118 h 159"/>
                    <a:gd name="T30" fmla="*/ 7 w 159"/>
                    <a:gd name="T31" fmla="*/ 117 h 159"/>
                    <a:gd name="T32" fmla="*/ 13 w 159"/>
                    <a:gd name="T33" fmla="*/ 110 h 159"/>
                    <a:gd name="T34" fmla="*/ 13 w 159"/>
                    <a:gd name="T35" fmla="*/ 109 h 159"/>
                    <a:gd name="T36" fmla="*/ 14 w 159"/>
                    <a:gd name="T37" fmla="*/ 109 h 159"/>
                    <a:gd name="T38" fmla="*/ 14 w 159"/>
                    <a:gd name="T39" fmla="*/ 106 h 159"/>
                    <a:gd name="T40" fmla="*/ 12 w 159"/>
                    <a:gd name="T41" fmla="*/ 105 h 159"/>
                    <a:gd name="T42" fmla="*/ 11 w 159"/>
                    <a:gd name="T43" fmla="*/ 105 h 159"/>
                    <a:gd name="T44" fmla="*/ 10 w 159"/>
                    <a:gd name="T45" fmla="*/ 106 h 159"/>
                    <a:gd name="T46" fmla="*/ 10 w 159"/>
                    <a:gd name="T47" fmla="*/ 106 h 159"/>
                    <a:gd name="T48" fmla="*/ 5 w 159"/>
                    <a:gd name="T49" fmla="*/ 112 h 159"/>
                    <a:gd name="T50" fmla="*/ 5 w 159"/>
                    <a:gd name="T51" fmla="*/ 17 h 159"/>
                    <a:gd name="T52" fmla="*/ 17 w 159"/>
                    <a:gd name="T53" fmla="*/ 5 h 159"/>
                    <a:gd name="T54" fmla="*/ 142 w 159"/>
                    <a:gd name="T55" fmla="*/ 5 h 159"/>
                    <a:gd name="T56" fmla="*/ 154 w 159"/>
                    <a:gd name="T57" fmla="*/ 17 h 159"/>
                    <a:gd name="T58" fmla="*/ 154 w 159"/>
                    <a:gd name="T59" fmla="*/ 14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9" h="159">
                      <a:moveTo>
                        <a:pt x="142" y="0"/>
                      </a:moveTo>
                      <a:cubicBezTo>
                        <a:pt x="17" y="0"/>
                        <a:pt x="17" y="0"/>
                        <a:pt x="17" y="0"/>
                      </a:cubicBezTo>
                      <a:cubicBezTo>
                        <a:pt x="8" y="0"/>
                        <a:pt x="0" y="8"/>
                        <a:pt x="0" y="17"/>
                      </a:cubicBezTo>
                      <a:cubicBezTo>
                        <a:pt x="0" y="142"/>
                        <a:pt x="0" y="142"/>
                        <a:pt x="0" y="142"/>
                      </a:cubicBezTo>
                      <a:cubicBezTo>
                        <a:pt x="0" y="152"/>
                        <a:pt x="8" y="159"/>
                        <a:pt x="17" y="159"/>
                      </a:cubicBezTo>
                      <a:cubicBezTo>
                        <a:pt x="142" y="159"/>
                        <a:pt x="142" y="159"/>
                        <a:pt x="142" y="159"/>
                      </a:cubicBezTo>
                      <a:cubicBezTo>
                        <a:pt x="151" y="159"/>
                        <a:pt x="159" y="152"/>
                        <a:pt x="159" y="142"/>
                      </a:cubicBezTo>
                      <a:cubicBezTo>
                        <a:pt x="159" y="17"/>
                        <a:pt x="159" y="17"/>
                        <a:pt x="159" y="17"/>
                      </a:cubicBezTo>
                      <a:cubicBezTo>
                        <a:pt x="159" y="8"/>
                        <a:pt x="151" y="0"/>
                        <a:pt x="142" y="0"/>
                      </a:cubicBezTo>
                      <a:moveTo>
                        <a:pt x="154" y="142"/>
                      </a:moveTo>
                      <a:cubicBezTo>
                        <a:pt x="154" y="149"/>
                        <a:pt x="149" y="155"/>
                        <a:pt x="142" y="155"/>
                      </a:cubicBezTo>
                      <a:cubicBezTo>
                        <a:pt x="17" y="155"/>
                        <a:pt x="17" y="155"/>
                        <a:pt x="17" y="155"/>
                      </a:cubicBezTo>
                      <a:cubicBezTo>
                        <a:pt x="10" y="155"/>
                        <a:pt x="5" y="149"/>
                        <a:pt x="5" y="142"/>
                      </a:cubicBezTo>
                      <a:cubicBezTo>
                        <a:pt x="5" y="119"/>
                        <a:pt x="5" y="119"/>
                        <a:pt x="5" y="119"/>
                      </a:cubicBezTo>
                      <a:cubicBezTo>
                        <a:pt x="5" y="119"/>
                        <a:pt x="6" y="119"/>
                        <a:pt x="6" y="118"/>
                      </a:cubicBezTo>
                      <a:cubicBezTo>
                        <a:pt x="7" y="117"/>
                        <a:pt x="7" y="117"/>
                        <a:pt x="7" y="117"/>
                      </a:cubicBezTo>
                      <a:cubicBezTo>
                        <a:pt x="8" y="114"/>
                        <a:pt x="10" y="112"/>
                        <a:pt x="13" y="110"/>
                      </a:cubicBezTo>
                      <a:cubicBezTo>
                        <a:pt x="13" y="109"/>
                        <a:pt x="13" y="109"/>
                        <a:pt x="13" y="109"/>
                      </a:cubicBezTo>
                      <a:cubicBezTo>
                        <a:pt x="14" y="109"/>
                        <a:pt x="14" y="109"/>
                        <a:pt x="14" y="109"/>
                      </a:cubicBezTo>
                      <a:cubicBezTo>
                        <a:pt x="15" y="108"/>
                        <a:pt x="15" y="107"/>
                        <a:pt x="14" y="106"/>
                      </a:cubicBezTo>
                      <a:cubicBezTo>
                        <a:pt x="14" y="105"/>
                        <a:pt x="13" y="105"/>
                        <a:pt x="12" y="105"/>
                      </a:cubicBezTo>
                      <a:cubicBezTo>
                        <a:pt x="12" y="105"/>
                        <a:pt x="11" y="105"/>
                        <a:pt x="11" y="105"/>
                      </a:cubicBezTo>
                      <a:cubicBezTo>
                        <a:pt x="10" y="106"/>
                        <a:pt x="10" y="106"/>
                        <a:pt x="10" y="106"/>
                      </a:cubicBezTo>
                      <a:cubicBezTo>
                        <a:pt x="10" y="106"/>
                        <a:pt x="10" y="106"/>
                        <a:pt x="10" y="106"/>
                      </a:cubicBezTo>
                      <a:cubicBezTo>
                        <a:pt x="8" y="108"/>
                        <a:pt x="6" y="110"/>
                        <a:pt x="5" y="112"/>
                      </a:cubicBezTo>
                      <a:cubicBezTo>
                        <a:pt x="5" y="17"/>
                        <a:pt x="5" y="17"/>
                        <a:pt x="5" y="17"/>
                      </a:cubicBezTo>
                      <a:cubicBezTo>
                        <a:pt x="5" y="10"/>
                        <a:pt x="10" y="5"/>
                        <a:pt x="17" y="5"/>
                      </a:cubicBezTo>
                      <a:cubicBezTo>
                        <a:pt x="142" y="5"/>
                        <a:pt x="142" y="5"/>
                        <a:pt x="142" y="5"/>
                      </a:cubicBezTo>
                      <a:cubicBezTo>
                        <a:pt x="149" y="5"/>
                        <a:pt x="154" y="10"/>
                        <a:pt x="154" y="17"/>
                      </a:cubicBezTo>
                      <a:lnTo>
                        <a:pt x="154"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53" name="Freeform 49"/>
                <p:cNvSpPr>
                  <a:spLocks/>
                </p:cNvSpPr>
                <p:nvPr/>
              </p:nvSpPr>
              <p:spPr bwMode="auto">
                <a:xfrm>
                  <a:off x="1662113" y="-77788"/>
                  <a:ext cx="63500" cy="63500"/>
                </a:xfrm>
                <a:custGeom>
                  <a:avLst/>
                  <a:gdLst>
                    <a:gd name="T0" fmla="*/ 0 w 20"/>
                    <a:gd name="T1" fmla="*/ 19 h 20"/>
                    <a:gd name="T2" fmla="*/ 2 w 20"/>
                    <a:gd name="T3" fmla="*/ 20 h 20"/>
                    <a:gd name="T4" fmla="*/ 4 w 20"/>
                    <a:gd name="T5" fmla="*/ 19 h 20"/>
                    <a:gd name="T6" fmla="*/ 10 w 20"/>
                    <a:gd name="T7" fmla="*/ 14 h 20"/>
                    <a:gd name="T8" fmla="*/ 15 w 20"/>
                    <a:gd name="T9" fmla="*/ 19 h 20"/>
                    <a:gd name="T10" fmla="*/ 17 w 20"/>
                    <a:gd name="T11" fmla="*/ 20 h 20"/>
                    <a:gd name="T12" fmla="*/ 19 w 20"/>
                    <a:gd name="T13" fmla="*/ 19 h 20"/>
                    <a:gd name="T14" fmla="*/ 19 w 20"/>
                    <a:gd name="T15" fmla="*/ 16 h 20"/>
                    <a:gd name="T16" fmla="*/ 13 w 20"/>
                    <a:gd name="T17" fmla="*/ 10 h 20"/>
                    <a:gd name="T18" fmla="*/ 19 w 20"/>
                    <a:gd name="T19" fmla="*/ 4 h 20"/>
                    <a:gd name="T20" fmla="*/ 19 w 20"/>
                    <a:gd name="T21" fmla="*/ 1 h 20"/>
                    <a:gd name="T22" fmla="*/ 15 w 20"/>
                    <a:gd name="T23" fmla="*/ 1 h 20"/>
                    <a:gd name="T24" fmla="*/ 10 w 20"/>
                    <a:gd name="T25" fmla="*/ 7 h 20"/>
                    <a:gd name="T26" fmla="*/ 4 w 20"/>
                    <a:gd name="T27" fmla="*/ 1 h 20"/>
                    <a:gd name="T28" fmla="*/ 0 w 20"/>
                    <a:gd name="T29" fmla="*/ 1 h 20"/>
                    <a:gd name="T30" fmla="*/ 0 w 20"/>
                    <a:gd name="T31" fmla="*/ 4 h 20"/>
                    <a:gd name="T32" fmla="*/ 6 w 20"/>
                    <a:gd name="T33" fmla="*/ 10 h 20"/>
                    <a:gd name="T34" fmla="*/ 0 w 20"/>
                    <a:gd name="T35" fmla="*/ 16 h 20"/>
                    <a:gd name="T36" fmla="*/ 0 w 20"/>
                    <a:gd name="T3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0">
                      <a:moveTo>
                        <a:pt x="0" y="19"/>
                      </a:moveTo>
                      <a:cubicBezTo>
                        <a:pt x="1" y="20"/>
                        <a:pt x="2" y="20"/>
                        <a:pt x="2" y="20"/>
                      </a:cubicBezTo>
                      <a:cubicBezTo>
                        <a:pt x="3" y="20"/>
                        <a:pt x="3" y="20"/>
                        <a:pt x="4" y="19"/>
                      </a:cubicBezTo>
                      <a:cubicBezTo>
                        <a:pt x="10" y="14"/>
                        <a:pt x="10" y="14"/>
                        <a:pt x="10" y="14"/>
                      </a:cubicBezTo>
                      <a:cubicBezTo>
                        <a:pt x="15" y="19"/>
                        <a:pt x="15" y="19"/>
                        <a:pt x="15" y="19"/>
                      </a:cubicBezTo>
                      <a:cubicBezTo>
                        <a:pt x="16" y="20"/>
                        <a:pt x="16" y="20"/>
                        <a:pt x="17" y="20"/>
                      </a:cubicBezTo>
                      <a:cubicBezTo>
                        <a:pt x="18" y="20"/>
                        <a:pt x="18" y="20"/>
                        <a:pt x="19" y="19"/>
                      </a:cubicBezTo>
                      <a:cubicBezTo>
                        <a:pt x="20" y="19"/>
                        <a:pt x="20" y="17"/>
                        <a:pt x="19" y="16"/>
                      </a:cubicBezTo>
                      <a:cubicBezTo>
                        <a:pt x="13" y="10"/>
                        <a:pt x="13" y="10"/>
                        <a:pt x="13" y="10"/>
                      </a:cubicBezTo>
                      <a:cubicBezTo>
                        <a:pt x="19" y="4"/>
                        <a:pt x="19" y="4"/>
                        <a:pt x="19" y="4"/>
                      </a:cubicBezTo>
                      <a:cubicBezTo>
                        <a:pt x="20" y="4"/>
                        <a:pt x="20" y="2"/>
                        <a:pt x="19" y="1"/>
                      </a:cubicBezTo>
                      <a:cubicBezTo>
                        <a:pt x="18" y="0"/>
                        <a:pt x="16" y="0"/>
                        <a:pt x="15" y="1"/>
                      </a:cubicBezTo>
                      <a:cubicBezTo>
                        <a:pt x="10" y="7"/>
                        <a:pt x="10" y="7"/>
                        <a:pt x="10" y="7"/>
                      </a:cubicBezTo>
                      <a:cubicBezTo>
                        <a:pt x="4" y="1"/>
                        <a:pt x="4" y="1"/>
                        <a:pt x="4" y="1"/>
                      </a:cubicBezTo>
                      <a:cubicBezTo>
                        <a:pt x="3" y="0"/>
                        <a:pt x="1" y="0"/>
                        <a:pt x="0" y="1"/>
                      </a:cubicBezTo>
                      <a:cubicBezTo>
                        <a:pt x="0" y="2"/>
                        <a:pt x="0" y="4"/>
                        <a:pt x="0" y="4"/>
                      </a:cubicBezTo>
                      <a:cubicBezTo>
                        <a:pt x="6" y="10"/>
                        <a:pt x="6" y="10"/>
                        <a:pt x="6" y="10"/>
                      </a:cubicBezTo>
                      <a:cubicBezTo>
                        <a:pt x="0" y="16"/>
                        <a:pt x="0" y="16"/>
                        <a:pt x="0" y="16"/>
                      </a:cubicBezTo>
                      <a:cubicBezTo>
                        <a:pt x="0" y="17"/>
                        <a:pt x="0" y="19"/>
                        <a:pt x="0"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54" name="Freeform 50"/>
                <p:cNvSpPr>
                  <a:spLocks/>
                </p:cNvSpPr>
                <p:nvPr/>
              </p:nvSpPr>
              <p:spPr bwMode="auto">
                <a:xfrm>
                  <a:off x="1785938" y="214312"/>
                  <a:ext cx="63500" cy="63500"/>
                </a:xfrm>
                <a:custGeom>
                  <a:avLst/>
                  <a:gdLst>
                    <a:gd name="T0" fmla="*/ 20 w 20"/>
                    <a:gd name="T1" fmla="*/ 1 h 20"/>
                    <a:gd name="T2" fmla="*/ 16 w 20"/>
                    <a:gd name="T3" fmla="*/ 1 h 20"/>
                    <a:gd name="T4" fmla="*/ 10 w 20"/>
                    <a:gd name="T5" fmla="*/ 7 h 20"/>
                    <a:gd name="T6" fmla="*/ 5 w 20"/>
                    <a:gd name="T7" fmla="*/ 1 h 20"/>
                    <a:gd name="T8" fmla="*/ 1 w 20"/>
                    <a:gd name="T9" fmla="*/ 1 h 20"/>
                    <a:gd name="T10" fmla="*/ 1 w 20"/>
                    <a:gd name="T11" fmla="*/ 5 h 20"/>
                    <a:gd name="T12" fmla="*/ 7 w 20"/>
                    <a:gd name="T13" fmla="*/ 11 h 20"/>
                    <a:gd name="T14" fmla="*/ 1 w 20"/>
                    <a:gd name="T15" fmla="*/ 16 h 20"/>
                    <a:gd name="T16" fmla="*/ 1 w 20"/>
                    <a:gd name="T17" fmla="*/ 20 h 20"/>
                    <a:gd name="T18" fmla="*/ 3 w 20"/>
                    <a:gd name="T19" fmla="*/ 20 h 20"/>
                    <a:gd name="T20" fmla="*/ 5 w 20"/>
                    <a:gd name="T21" fmla="*/ 20 h 20"/>
                    <a:gd name="T22" fmla="*/ 10 w 20"/>
                    <a:gd name="T23" fmla="*/ 14 h 20"/>
                    <a:gd name="T24" fmla="*/ 16 w 20"/>
                    <a:gd name="T25" fmla="*/ 20 h 20"/>
                    <a:gd name="T26" fmla="*/ 18 w 20"/>
                    <a:gd name="T27" fmla="*/ 20 h 20"/>
                    <a:gd name="T28" fmla="*/ 20 w 20"/>
                    <a:gd name="T29" fmla="*/ 20 h 20"/>
                    <a:gd name="T30" fmla="*/ 20 w 20"/>
                    <a:gd name="T31" fmla="*/ 16 h 20"/>
                    <a:gd name="T32" fmla="*/ 14 w 20"/>
                    <a:gd name="T33" fmla="*/ 11 h 20"/>
                    <a:gd name="T34" fmla="*/ 20 w 20"/>
                    <a:gd name="T35" fmla="*/ 5 h 20"/>
                    <a:gd name="T36" fmla="*/ 20 w 20"/>
                    <a:gd name="T3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0">
                      <a:moveTo>
                        <a:pt x="20" y="1"/>
                      </a:moveTo>
                      <a:cubicBezTo>
                        <a:pt x="19" y="0"/>
                        <a:pt x="17" y="0"/>
                        <a:pt x="16" y="1"/>
                      </a:cubicBezTo>
                      <a:cubicBezTo>
                        <a:pt x="10" y="7"/>
                        <a:pt x="10" y="7"/>
                        <a:pt x="10" y="7"/>
                      </a:cubicBezTo>
                      <a:cubicBezTo>
                        <a:pt x="5" y="1"/>
                        <a:pt x="5" y="1"/>
                        <a:pt x="5" y="1"/>
                      </a:cubicBezTo>
                      <a:cubicBezTo>
                        <a:pt x="4" y="0"/>
                        <a:pt x="2" y="0"/>
                        <a:pt x="1" y="1"/>
                      </a:cubicBezTo>
                      <a:cubicBezTo>
                        <a:pt x="0" y="2"/>
                        <a:pt x="0" y="4"/>
                        <a:pt x="1" y="5"/>
                      </a:cubicBezTo>
                      <a:cubicBezTo>
                        <a:pt x="7" y="11"/>
                        <a:pt x="7" y="11"/>
                        <a:pt x="7" y="11"/>
                      </a:cubicBezTo>
                      <a:cubicBezTo>
                        <a:pt x="1" y="16"/>
                        <a:pt x="1" y="16"/>
                        <a:pt x="1" y="16"/>
                      </a:cubicBezTo>
                      <a:cubicBezTo>
                        <a:pt x="0" y="17"/>
                        <a:pt x="0" y="19"/>
                        <a:pt x="1" y="20"/>
                      </a:cubicBezTo>
                      <a:cubicBezTo>
                        <a:pt x="2" y="20"/>
                        <a:pt x="2" y="20"/>
                        <a:pt x="3" y="20"/>
                      </a:cubicBezTo>
                      <a:cubicBezTo>
                        <a:pt x="4" y="20"/>
                        <a:pt x="4" y="20"/>
                        <a:pt x="5" y="20"/>
                      </a:cubicBezTo>
                      <a:cubicBezTo>
                        <a:pt x="10" y="14"/>
                        <a:pt x="10" y="14"/>
                        <a:pt x="10" y="14"/>
                      </a:cubicBezTo>
                      <a:cubicBezTo>
                        <a:pt x="16" y="20"/>
                        <a:pt x="16" y="20"/>
                        <a:pt x="16" y="20"/>
                      </a:cubicBezTo>
                      <a:cubicBezTo>
                        <a:pt x="17" y="20"/>
                        <a:pt x="17" y="20"/>
                        <a:pt x="18" y="20"/>
                      </a:cubicBezTo>
                      <a:cubicBezTo>
                        <a:pt x="19" y="20"/>
                        <a:pt x="19" y="20"/>
                        <a:pt x="20" y="20"/>
                      </a:cubicBezTo>
                      <a:cubicBezTo>
                        <a:pt x="20" y="19"/>
                        <a:pt x="20" y="17"/>
                        <a:pt x="20" y="16"/>
                      </a:cubicBezTo>
                      <a:cubicBezTo>
                        <a:pt x="14" y="11"/>
                        <a:pt x="14" y="11"/>
                        <a:pt x="14" y="11"/>
                      </a:cubicBezTo>
                      <a:cubicBezTo>
                        <a:pt x="20" y="5"/>
                        <a:pt x="20" y="5"/>
                        <a:pt x="20" y="5"/>
                      </a:cubicBezTo>
                      <a:cubicBezTo>
                        <a:pt x="20" y="4"/>
                        <a:pt x="20" y="2"/>
                        <a:pt x="20" y="1"/>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55" name="Freeform 51"/>
                <p:cNvSpPr>
                  <a:spLocks/>
                </p:cNvSpPr>
                <p:nvPr/>
              </p:nvSpPr>
              <p:spPr bwMode="auto">
                <a:xfrm>
                  <a:off x="1906588" y="49212"/>
                  <a:ext cx="63500" cy="63500"/>
                </a:xfrm>
                <a:custGeom>
                  <a:avLst/>
                  <a:gdLst>
                    <a:gd name="T0" fmla="*/ 16 w 20"/>
                    <a:gd name="T1" fmla="*/ 19 h 20"/>
                    <a:gd name="T2" fmla="*/ 17 w 20"/>
                    <a:gd name="T3" fmla="*/ 20 h 20"/>
                    <a:gd name="T4" fmla="*/ 19 w 20"/>
                    <a:gd name="T5" fmla="*/ 19 h 20"/>
                    <a:gd name="T6" fmla="*/ 19 w 20"/>
                    <a:gd name="T7" fmla="*/ 16 h 20"/>
                    <a:gd name="T8" fmla="*/ 13 w 20"/>
                    <a:gd name="T9" fmla="*/ 10 h 20"/>
                    <a:gd name="T10" fmla="*/ 19 w 20"/>
                    <a:gd name="T11" fmla="*/ 4 h 20"/>
                    <a:gd name="T12" fmla="*/ 19 w 20"/>
                    <a:gd name="T13" fmla="*/ 1 h 20"/>
                    <a:gd name="T14" fmla="*/ 16 w 20"/>
                    <a:gd name="T15" fmla="*/ 1 h 20"/>
                    <a:gd name="T16" fmla="*/ 10 w 20"/>
                    <a:gd name="T17" fmla="*/ 7 h 20"/>
                    <a:gd name="T18" fmla="*/ 4 w 20"/>
                    <a:gd name="T19" fmla="*/ 1 h 20"/>
                    <a:gd name="T20" fmla="*/ 1 w 20"/>
                    <a:gd name="T21" fmla="*/ 1 h 20"/>
                    <a:gd name="T22" fmla="*/ 1 w 20"/>
                    <a:gd name="T23" fmla="*/ 4 h 20"/>
                    <a:gd name="T24" fmla="*/ 7 w 20"/>
                    <a:gd name="T25" fmla="*/ 10 h 20"/>
                    <a:gd name="T26" fmla="*/ 1 w 20"/>
                    <a:gd name="T27" fmla="*/ 16 h 20"/>
                    <a:gd name="T28" fmla="*/ 1 w 20"/>
                    <a:gd name="T29" fmla="*/ 19 h 20"/>
                    <a:gd name="T30" fmla="*/ 2 w 20"/>
                    <a:gd name="T31" fmla="*/ 20 h 20"/>
                    <a:gd name="T32" fmla="*/ 4 w 20"/>
                    <a:gd name="T33" fmla="*/ 19 h 20"/>
                    <a:gd name="T34" fmla="*/ 10 w 20"/>
                    <a:gd name="T35" fmla="*/ 13 h 20"/>
                    <a:gd name="T36" fmla="*/ 16 w 20"/>
                    <a:gd name="T3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0">
                      <a:moveTo>
                        <a:pt x="16" y="19"/>
                      </a:moveTo>
                      <a:cubicBezTo>
                        <a:pt x="16" y="20"/>
                        <a:pt x="17" y="20"/>
                        <a:pt x="17" y="20"/>
                      </a:cubicBezTo>
                      <a:cubicBezTo>
                        <a:pt x="18" y="20"/>
                        <a:pt x="18" y="20"/>
                        <a:pt x="19" y="19"/>
                      </a:cubicBezTo>
                      <a:cubicBezTo>
                        <a:pt x="20" y="18"/>
                        <a:pt x="20" y="17"/>
                        <a:pt x="19" y="16"/>
                      </a:cubicBezTo>
                      <a:cubicBezTo>
                        <a:pt x="13" y="10"/>
                        <a:pt x="13" y="10"/>
                        <a:pt x="13" y="10"/>
                      </a:cubicBezTo>
                      <a:cubicBezTo>
                        <a:pt x="19" y="4"/>
                        <a:pt x="19" y="4"/>
                        <a:pt x="19" y="4"/>
                      </a:cubicBezTo>
                      <a:cubicBezTo>
                        <a:pt x="20" y="3"/>
                        <a:pt x="20" y="2"/>
                        <a:pt x="19" y="1"/>
                      </a:cubicBezTo>
                      <a:cubicBezTo>
                        <a:pt x="18" y="0"/>
                        <a:pt x="17" y="0"/>
                        <a:pt x="16" y="1"/>
                      </a:cubicBezTo>
                      <a:cubicBezTo>
                        <a:pt x="10" y="7"/>
                        <a:pt x="10" y="7"/>
                        <a:pt x="10" y="7"/>
                      </a:cubicBezTo>
                      <a:cubicBezTo>
                        <a:pt x="4" y="1"/>
                        <a:pt x="4" y="1"/>
                        <a:pt x="4" y="1"/>
                      </a:cubicBezTo>
                      <a:cubicBezTo>
                        <a:pt x="3" y="0"/>
                        <a:pt x="2" y="0"/>
                        <a:pt x="1" y="1"/>
                      </a:cubicBezTo>
                      <a:cubicBezTo>
                        <a:pt x="0" y="2"/>
                        <a:pt x="0" y="3"/>
                        <a:pt x="1" y="4"/>
                      </a:cubicBezTo>
                      <a:cubicBezTo>
                        <a:pt x="7" y="10"/>
                        <a:pt x="7" y="10"/>
                        <a:pt x="7" y="10"/>
                      </a:cubicBezTo>
                      <a:cubicBezTo>
                        <a:pt x="1" y="16"/>
                        <a:pt x="1" y="16"/>
                        <a:pt x="1" y="16"/>
                      </a:cubicBezTo>
                      <a:cubicBezTo>
                        <a:pt x="0" y="17"/>
                        <a:pt x="0" y="18"/>
                        <a:pt x="1" y="19"/>
                      </a:cubicBezTo>
                      <a:cubicBezTo>
                        <a:pt x="1" y="20"/>
                        <a:pt x="2" y="20"/>
                        <a:pt x="2" y="20"/>
                      </a:cubicBezTo>
                      <a:cubicBezTo>
                        <a:pt x="3" y="20"/>
                        <a:pt x="4" y="20"/>
                        <a:pt x="4" y="19"/>
                      </a:cubicBezTo>
                      <a:cubicBezTo>
                        <a:pt x="10" y="13"/>
                        <a:pt x="10" y="13"/>
                        <a:pt x="10" y="13"/>
                      </a:cubicBezTo>
                      <a:lnTo>
                        <a:pt x="16"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56" name="Oval 52"/>
                <p:cNvSpPr>
                  <a:spLocks noChangeArrowheads="1"/>
                </p:cNvSpPr>
                <p:nvPr/>
              </p:nvSpPr>
              <p:spPr bwMode="auto">
                <a:xfrm>
                  <a:off x="1852613" y="-74613"/>
                  <a:ext cx="28575" cy="28575"/>
                </a:xfrm>
                <a:prstGeom prst="ellipse">
                  <a:avLst/>
                </a:pr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57" name="Freeform 53"/>
                <p:cNvSpPr>
                  <a:spLocks/>
                </p:cNvSpPr>
                <p:nvPr/>
              </p:nvSpPr>
              <p:spPr bwMode="auto">
                <a:xfrm>
                  <a:off x="1627188" y="153987"/>
                  <a:ext cx="53975" cy="15875"/>
                </a:xfrm>
                <a:custGeom>
                  <a:avLst/>
                  <a:gdLst>
                    <a:gd name="T0" fmla="*/ 15 w 17"/>
                    <a:gd name="T1" fmla="*/ 0 h 5"/>
                    <a:gd name="T2" fmla="*/ 14 w 17"/>
                    <a:gd name="T3" fmla="*/ 0 h 5"/>
                    <a:gd name="T4" fmla="*/ 14 w 17"/>
                    <a:gd name="T5" fmla="*/ 0 h 5"/>
                    <a:gd name="T6" fmla="*/ 8 w 17"/>
                    <a:gd name="T7" fmla="*/ 0 h 5"/>
                    <a:gd name="T8" fmla="*/ 3 w 17"/>
                    <a:gd name="T9" fmla="*/ 0 h 5"/>
                    <a:gd name="T10" fmla="*/ 2 w 17"/>
                    <a:gd name="T11" fmla="*/ 1 h 5"/>
                    <a:gd name="T12" fmla="*/ 0 w 17"/>
                    <a:gd name="T13" fmla="*/ 2 h 5"/>
                    <a:gd name="T14" fmla="*/ 0 w 17"/>
                    <a:gd name="T15" fmla="*/ 3 h 5"/>
                    <a:gd name="T16" fmla="*/ 2 w 17"/>
                    <a:gd name="T17" fmla="*/ 5 h 5"/>
                    <a:gd name="T18" fmla="*/ 3 w 17"/>
                    <a:gd name="T19" fmla="*/ 5 h 5"/>
                    <a:gd name="T20" fmla="*/ 3 w 17"/>
                    <a:gd name="T21" fmla="*/ 5 h 5"/>
                    <a:gd name="T22" fmla="*/ 4 w 17"/>
                    <a:gd name="T23" fmla="*/ 5 h 5"/>
                    <a:gd name="T24" fmla="*/ 8 w 17"/>
                    <a:gd name="T25" fmla="*/ 4 h 5"/>
                    <a:gd name="T26" fmla="*/ 14 w 17"/>
                    <a:gd name="T27" fmla="*/ 4 h 5"/>
                    <a:gd name="T28" fmla="*/ 14 w 17"/>
                    <a:gd name="T29" fmla="*/ 4 h 5"/>
                    <a:gd name="T30" fmla="*/ 15 w 17"/>
                    <a:gd name="T31" fmla="*/ 4 h 5"/>
                    <a:gd name="T32" fmla="*/ 17 w 17"/>
                    <a:gd name="T33" fmla="*/ 2 h 5"/>
                    <a:gd name="T34" fmla="*/ 15 w 17"/>
                    <a:gd name="T3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5">
                      <a:moveTo>
                        <a:pt x="15" y="0"/>
                      </a:moveTo>
                      <a:cubicBezTo>
                        <a:pt x="14" y="0"/>
                        <a:pt x="14" y="0"/>
                        <a:pt x="14" y="0"/>
                      </a:cubicBezTo>
                      <a:cubicBezTo>
                        <a:pt x="14" y="0"/>
                        <a:pt x="14" y="0"/>
                        <a:pt x="14" y="0"/>
                      </a:cubicBezTo>
                      <a:cubicBezTo>
                        <a:pt x="8" y="0"/>
                        <a:pt x="8" y="0"/>
                        <a:pt x="8" y="0"/>
                      </a:cubicBezTo>
                      <a:cubicBezTo>
                        <a:pt x="6" y="0"/>
                        <a:pt x="5" y="0"/>
                        <a:pt x="3" y="0"/>
                      </a:cubicBezTo>
                      <a:cubicBezTo>
                        <a:pt x="3" y="0"/>
                        <a:pt x="2" y="0"/>
                        <a:pt x="2" y="1"/>
                      </a:cubicBezTo>
                      <a:cubicBezTo>
                        <a:pt x="1" y="1"/>
                        <a:pt x="1" y="1"/>
                        <a:pt x="0" y="2"/>
                      </a:cubicBezTo>
                      <a:cubicBezTo>
                        <a:pt x="0" y="2"/>
                        <a:pt x="0" y="3"/>
                        <a:pt x="0" y="3"/>
                      </a:cubicBezTo>
                      <a:cubicBezTo>
                        <a:pt x="0" y="4"/>
                        <a:pt x="1" y="5"/>
                        <a:pt x="2" y="5"/>
                      </a:cubicBezTo>
                      <a:cubicBezTo>
                        <a:pt x="3" y="5"/>
                        <a:pt x="3" y="5"/>
                        <a:pt x="3" y="5"/>
                      </a:cubicBezTo>
                      <a:cubicBezTo>
                        <a:pt x="3" y="5"/>
                        <a:pt x="3" y="5"/>
                        <a:pt x="3" y="5"/>
                      </a:cubicBezTo>
                      <a:cubicBezTo>
                        <a:pt x="3" y="5"/>
                        <a:pt x="4" y="5"/>
                        <a:pt x="4" y="5"/>
                      </a:cubicBezTo>
                      <a:cubicBezTo>
                        <a:pt x="5" y="5"/>
                        <a:pt x="7" y="4"/>
                        <a:pt x="8" y="4"/>
                      </a:cubicBezTo>
                      <a:cubicBezTo>
                        <a:pt x="14" y="4"/>
                        <a:pt x="14" y="4"/>
                        <a:pt x="14" y="4"/>
                      </a:cubicBezTo>
                      <a:cubicBezTo>
                        <a:pt x="14" y="4"/>
                        <a:pt x="14" y="4"/>
                        <a:pt x="14" y="4"/>
                      </a:cubicBezTo>
                      <a:cubicBezTo>
                        <a:pt x="15" y="4"/>
                        <a:pt x="15" y="4"/>
                        <a:pt x="15" y="4"/>
                      </a:cubicBezTo>
                      <a:cubicBezTo>
                        <a:pt x="16" y="4"/>
                        <a:pt x="17" y="3"/>
                        <a:pt x="17" y="2"/>
                      </a:cubicBezTo>
                      <a:cubicBezTo>
                        <a:pt x="17" y="1"/>
                        <a:pt x="16" y="0"/>
                        <a:pt x="15" y="0"/>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58" name="Freeform 54"/>
                <p:cNvSpPr>
                  <a:spLocks/>
                </p:cNvSpPr>
                <p:nvPr/>
              </p:nvSpPr>
              <p:spPr bwMode="auto">
                <a:xfrm>
                  <a:off x="1773238" y="153987"/>
                  <a:ext cx="53975" cy="12700"/>
                </a:xfrm>
                <a:custGeom>
                  <a:avLst/>
                  <a:gdLst>
                    <a:gd name="T0" fmla="*/ 15 w 17"/>
                    <a:gd name="T1" fmla="*/ 4 h 4"/>
                    <a:gd name="T2" fmla="*/ 15 w 17"/>
                    <a:gd name="T3" fmla="*/ 4 h 4"/>
                    <a:gd name="T4" fmla="*/ 17 w 17"/>
                    <a:gd name="T5" fmla="*/ 2 h 4"/>
                    <a:gd name="T6" fmla="*/ 15 w 17"/>
                    <a:gd name="T7" fmla="*/ 0 h 4"/>
                    <a:gd name="T8" fmla="*/ 15 w 17"/>
                    <a:gd name="T9" fmla="*/ 0 h 4"/>
                    <a:gd name="T10" fmla="*/ 14 w 17"/>
                    <a:gd name="T11" fmla="*/ 0 h 4"/>
                    <a:gd name="T12" fmla="*/ 2 w 17"/>
                    <a:gd name="T13" fmla="*/ 0 h 4"/>
                    <a:gd name="T14" fmla="*/ 0 w 17"/>
                    <a:gd name="T15" fmla="*/ 2 h 4"/>
                    <a:gd name="T16" fmla="*/ 2 w 17"/>
                    <a:gd name="T17" fmla="*/ 4 h 4"/>
                    <a:gd name="T18" fmla="*/ 14 w 17"/>
                    <a:gd name="T19" fmla="*/ 4 h 4"/>
                    <a:gd name="T20" fmla="*/ 15 w 17"/>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4">
                      <a:moveTo>
                        <a:pt x="15" y="4"/>
                      </a:moveTo>
                      <a:cubicBezTo>
                        <a:pt x="15" y="4"/>
                        <a:pt x="15" y="4"/>
                        <a:pt x="15" y="4"/>
                      </a:cubicBezTo>
                      <a:cubicBezTo>
                        <a:pt x="16" y="4"/>
                        <a:pt x="17" y="3"/>
                        <a:pt x="17" y="2"/>
                      </a:cubicBezTo>
                      <a:cubicBezTo>
                        <a:pt x="17" y="1"/>
                        <a:pt x="16" y="0"/>
                        <a:pt x="15" y="0"/>
                      </a:cubicBezTo>
                      <a:cubicBezTo>
                        <a:pt x="15" y="0"/>
                        <a:pt x="15" y="0"/>
                        <a:pt x="15" y="0"/>
                      </a:cubicBezTo>
                      <a:cubicBezTo>
                        <a:pt x="14" y="0"/>
                        <a:pt x="14" y="0"/>
                        <a:pt x="14" y="0"/>
                      </a:cubicBezTo>
                      <a:cubicBezTo>
                        <a:pt x="2" y="0"/>
                        <a:pt x="2" y="0"/>
                        <a:pt x="2" y="0"/>
                      </a:cubicBezTo>
                      <a:cubicBezTo>
                        <a:pt x="1" y="0"/>
                        <a:pt x="0" y="1"/>
                        <a:pt x="0" y="2"/>
                      </a:cubicBezTo>
                      <a:cubicBezTo>
                        <a:pt x="0" y="3"/>
                        <a:pt x="1" y="4"/>
                        <a:pt x="2" y="4"/>
                      </a:cubicBezTo>
                      <a:cubicBezTo>
                        <a:pt x="14" y="4"/>
                        <a:pt x="14" y="4"/>
                        <a:pt x="14" y="4"/>
                      </a:cubicBezTo>
                      <a:cubicBezTo>
                        <a:pt x="15" y="4"/>
                        <a:pt x="15" y="4"/>
                        <a:pt x="15" y="4"/>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59" name="Freeform 55"/>
                <p:cNvSpPr>
                  <a:spLocks/>
                </p:cNvSpPr>
                <p:nvPr/>
              </p:nvSpPr>
              <p:spPr bwMode="auto">
                <a:xfrm>
                  <a:off x="1700213" y="153987"/>
                  <a:ext cx="53975" cy="12700"/>
                </a:xfrm>
                <a:custGeom>
                  <a:avLst/>
                  <a:gdLst>
                    <a:gd name="T0" fmla="*/ 15 w 17"/>
                    <a:gd name="T1" fmla="*/ 0 h 4"/>
                    <a:gd name="T2" fmla="*/ 14 w 17"/>
                    <a:gd name="T3" fmla="*/ 0 h 4"/>
                    <a:gd name="T4" fmla="*/ 14 w 17"/>
                    <a:gd name="T5" fmla="*/ 0 h 4"/>
                    <a:gd name="T6" fmla="*/ 2 w 17"/>
                    <a:gd name="T7" fmla="*/ 0 h 4"/>
                    <a:gd name="T8" fmla="*/ 0 w 17"/>
                    <a:gd name="T9" fmla="*/ 2 h 4"/>
                    <a:gd name="T10" fmla="*/ 2 w 17"/>
                    <a:gd name="T11" fmla="*/ 4 h 4"/>
                    <a:gd name="T12" fmla="*/ 14 w 17"/>
                    <a:gd name="T13" fmla="*/ 4 h 4"/>
                    <a:gd name="T14" fmla="*/ 14 w 17"/>
                    <a:gd name="T15" fmla="*/ 4 h 4"/>
                    <a:gd name="T16" fmla="*/ 15 w 17"/>
                    <a:gd name="T17" fmla="*/ 4 h 4"/>
                    <a:gd name="T18" fmla="*/ 17 w 17"/>
                    <a:gd name="T19" fmla="*/ 2 h 4"/>
                    <a:gd name="T20" fmla="*/ 15 w 1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4">
                      <a:moveTo>
                        <a:pt x="15" y="0"/>
                      </a:moveTo>
                      <a:cubicBezTo>
                        <a:pt x="14" y="0"/>
                        <a:pt x="14" y="0"/>
                        <a:pt x="14" y="0"/>
                      </a:cubicBezTo>
                      <a:cubicBezTo>
                        <a:pt x="14" y="0"/>
                        <a:pt x="14" y="0"/>
                        <a:pt x="14" y="0"/>
                      </a:cubicBezTo>
                      <a:cubicBezTo>
                        <a:pt x="2" y="0"/>
                        <a:pt x="2" y="0"/>
                        <a:pt x="2" y="0"/>
                      </a:cubicBezTo>
                      <a:cubicBezTo>
                        <a:pt x="1" y="0"/>
                        <a:pt x="0" y="1"/>
                        <a:pt x="0" y="2"/>
                      </a:cubicBezTo>
                      <a:cubicBezTo>
                        <a:pt x="0" y="3"/>
                        <a:pt x="1" y="4"/>
                        <a:pt x="2" y="4"/>
                      </a:cubicBezTo>
                      <a:cubicBezTo>
                        <a:pt x="14" y="4"/>
                        <a:pt x="14" y="4"/>
                        <a:pt x="14" y="4"/>
                      </a:cubicBezTo>
                      <a:cubicBezTo>
                        <a:pt x="14" y="4"/>
                        <a:pt x="14" y="4"/>
                        <a:pt x="14" y="4"/>
                      </a:cubicBezTo>
                      <a:cubicBezTo>
                        <a:pt x="15" y="4"/>
                        <a:pt x="15" y="4"/>
                        <a:pt x="15" y="4"/>
                      </a:cubicBezTo>
                      <a:cubicBezTo>
                        <a:pt x="16" y="4"/>
                        <a:pt x="17" y="3"/>
                        <a:pt x="17" y="2"/>
                      </a:cubicBezTo>
                      <a:cubicBezTo>
                        <a:pt x="17" y="1"/>
                        <a:pt x="16" y="0"/>
                        <a:pt x="15" y="0"/>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60" name="Freeform 56"/>
                <p:cNvSpPr>
                  <a:spLocks/>
                </p:cNvSpPr>
                <p:nvPr/>
              </p:nvSpPr>
              <p:spPr bwMode="auto">
                <a:xfrm>
                  <a:off x="1928813" y="-4763"/>
                  <a:ext cx="53975" cy="25400"/>
                </a:xfrm>
                <a:custGeom>
                  <a:avLst/>
                  <a:gdLst>
                    <a:gd name="T0" fmla="*/ 16 w 17"/>
                    <a:gd name="T1" fmla="*/ 3 h 8"/>
                    <a:gd name="T2" fmla="*/ 15 w 17"/>
                    <a:gd name="T3" fmla="*/ 3 h 8"/>
                    <a:gd name="T4" fmla="*/ 4 w 17"/>
                    <a:gd name="T5" fmla="*/ 0 h 8"/>
                    <a:gd name="T6" fmla="*/ 3 w 17"/>
                    <a:gd name="T7" fmla="*/ 0 h 8"/>
                    <a:gd name="T8" fmla="*/ 3 w 17"/>
                    <a:gd name="T9" fmla="*/ 0 h 8"/>
                    <a:gd name="T10" fmla="*/ 0 w 17"/>
                    <a:gd name="T11" fmla="*/ 2 h 8"/>
                    <a:gd name="T12" fmla="*/ 3 w 17"/>
                    <a:gd name="T13" fmla="*/ 5 h 8"/>
                    <a:gd name="T14" fmla="*/ 3 w 17"/>
                    <a:gd name="T15" fmla="*/ 5 h 8"/>
                    <a:gd name="T16" fmla="*/ 4 w 17"/>
                    <a:gd name="T17" fmla="*/ 5 h 8"/>
                    <a:gd name="T18" fmla="*/ 13 w 17"/>
                    <a:gd name="T19" fmla="*/ 7 h 8"/>
                    <a:gd name="T20" fmla="*/ 14 w 17"/>
                    <a:gd name="T21" fmla="*/ 7 h 8"/>
                    <a:gd name="T22" fmla="*/ 15 w 17"/>
                    <a:gd name="T23" fmla="*/ 8 h 8"/>
                    <a:gd name="T24" fmla="*/ 17 w 17"/>
                    <a:gd name="T25" fmla="*/ 6 h 8"/>
                    <a:gd name="T26" fmla="*/ 16 w 17"/>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8">
                      <a:moveTo>
                        <a:pt x="16" y="3"/>
                      </a:moveTo>
                      <a:cubicBezTo>
                        <a:pt x="16" y="3"/>
                        <a:pt x="15" y="3"/>
                        <a:pt x="15" y="3"/>
                      </a:cubicBezTo>
                      <a:cubicBezTo>
                        <a:pt x="11" y="1"/>
                        <a:pt x="8" y="0"/>
                        <a:pt x="4" y="0"/>
                      </a:cubicBezTo>
                      <a:cubicBezTo>
                        <a:pt x="3" y="0"/>
                        <a:pt x="3" y="0"/>
                        <a:pt x="3" y="0"/>
                      </a:cubicBezTo>
                      <a:cubicBezTo>
                        <a:pt x="3" y="0"/>
                        <a:pt x="3" y="0"/>
                        <a:pt x="3" y="0"/>
                      </a:cubicBezTo>
                      <a:cubicBezTo>
                        <a:pt x="1" y="0"/>
                        <a:pt x="0" y="1"/>
                        <a:pt x="0" y="2"/>
                      </a:cubicBezTo>
                      <a:cubicBezTo>
                        <a:pt x="0" y="4"/>
                        <a:pt x="1" y="5"/>
                        <a:pt x="3" y="5"/>
                      </a:cubicBezTo>
                      <a:cubicBezTo>
                        <a:pt x="3" y="5"/>
                        <a:pt x="3" y="5"/>
                        <a:pt x="3" y="5"/>
                      </a:cubicBezTo>
                      <a:cubicBezTo>
                        <a:pt x="4" y="5"/>
                        <a:pt x="4" y="5"/>
                        <a:pt x="4" y="5"/>
                      </a:cubicBezTo>
                      <a:cubicBezTo>
                        <a:pt x="7" y="5"/>
                        <a:pt x="10" y="6"/>
                        <a:pt x="13" y="7"/>
                      </a:cubicBezTo>
                      <a:cubicBezTo>
                        <a:pt x="14" y="7"/>
                        <a:pt x="14" y="7"/>
                        <a:pt x="14" y="7"/>
                      </a:cubicBezTo>
                      <a:cubicBezTo>
                        <a:pt x="14" y="8"/>
                        <a:pt x="14" y="8"/>
                        <a:pt x="15" y="8"/>
                      </a:cubicBezTo>
                      <a:cubicBezTo>
                        <a:pt x="16" y="8"/>
                        <a:pt x="16" y="7"/>
                        <a:pt x="17" y="6"/>
                      </a:cubicBezTo>
                      <a:cubicBezTo>
                        <a:pt x="17" y="5"/>
                        <a:pt x="17" y="4"/>
                        <a:pt x="16" y="3"/>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61" name="Freeform 57"/>
                <p:cNvSpPr>
                  <a:spLocks/>
                </p:cNvSpPr>
                <p:nvPr/>
              </p:nvSpPr>
              <p:spPr bwMode="auto">
                <a:xfrm>
                  <a:off x="1919288" y="147637"/>
                  <a:ext cx="53975" cy="19050"/>
                </a:xfrm>
                <a:custGeom>
                  <a:avLst/>
                  <a:gdLst>
                    <a:gd name="T0" fmla="*/ 15 w 17"/>
                    <a:gd name="T1" fmla="*/ 0 h 6"/>
                    <a:gd name="T2" fmla="*/ 14 w 17"/>
                    <a:gd name="T3" fmla="*/ 0 h 6"/>
                    <a:gd name="T4" fmla="*/ 14 w 17"/>
                    <a:gd name="T5" fmla="*/ 0 h 6"/>
                    <a:gd name="T6" fmla="*/ 13 w 17"/>
                    <a:gd name="T7" fmla="*/ 1 h 6"/>
                    <a:gd name="T8" fmla="*/ 6 w 17"/>
                    <a:gd name="T9" fmla="*/ 2 h 6"/>
                    <a:gd name="T10" fmla="*/ 2 w 17"/>
                    <a:gd name="T11" fmla="*/ 2 h 6"/>
                    <a:gd name="T12" fmla="*/ 0 w 17"/>
                    <a:gd name="T13" fmla="*/ 4 h 6"/>
                    <a:gd name="T14" fmla="*/ 2 w 17"/>
                    <a:gd name="T15" fmla="*/ 6 h 6"/>
                    <a:gd name="T16" fmla="*/ 6 w 17"/>
                    <a:gd name="T17" fmla="*/ 6 h 6"/>
                    <a:gd name="T18" fmla="*/ 15 w 17"/>
                    <a:gd name="T19" fmla="*/ 5 h 6"/>
                    <a:gd name="T20" fmla="*/ 15 w 17"/>
                    <a:gd name="T21" fmla="*/ 5 h 6"/>
                    <a:gd name="T22" fmla="*/ 16 w 17"/>
                    <a:gd name="T23" fmla="*/ 5 h 6"/>
                    <a:gd name="T24" fmla="*/ 17 w 17"/>
                    <a:gd name="T25" fmla="*/ 3 h 6"/>
                    <a:gd name="T26" fmla="*/ 17 w 17"/>
                    <a:gd name="T27" fmla="*/ 1 h 6"/>
                    <a:gd name="T28" fmla="*/ 15 w 17"/>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6">
                      <a:moveTo>
                        <a:pt x="15" y="0"/>
                      </a:moveTo>
                      <a:cubicBezTo>
                        <a:pt x="14" y="0"/>
                        <a:pt x="14" y="0"/>
                        <a:pt x="14" y="0"/>
                      </a:cubicBezTo>
                      <a:cubicBezTo>
                        <a:pt x="14" y="0"/>
                        <a:pt x="14" y="0"/>
                        <a:pt x="14" y="0"/>
                      </a:cubicBezTo>
                      <a:cubicBezTo>
                        <a:pt x="13" y="1"/>
                        <a:pt x="13" y="1"/>
                        <a:pt x="13" y="1"/>
                      </a:cubicBezTo>
                      <a:cubicBezTo>
                        <a:pt x="11" y="1"/>
                        <a:pt x="8" y="2"/>
                        <a:pt x="6" y="2"/>
                      </a:cubicBezTo>
                      <a:cubicBezTo>
                        <a:pt x="2" y="2"/>
                        <a:pt x="2" y="2"/>
                        <a:pt x="2" y="2"/>
                      </a:cubicBezTo>
                      <a:cubicBezTo>
                        <a:pt x="1" y="2"/>
                        <a:pt x="0" y="3"/>
                        <a:pt x="0" y="4"/>
                      </a:cubicBezTo>
                      <a:cubicBezTo>
                        <a:pt x="0" y="5"/>
                        <a:pt x="1" y="6"/>
                        <a:pt x="2" y="6"/>
                      </a:cubicBezTo>
                      <a:cubicBezTo>
                        <a:pt x="6" y="6"/>
                        <a:pt x="6" y="6"/>
                        <a:pt x="6" y="6"/>
                      </a:cubicBezTo>
                      <a:cubicBezTo>
                        <a:pt x="9" y="6"/>
                        <a:pt x="12" y="6"/>
                        <a:pt x="15" y="5"/>
                      </a:cubicBezTo>
                      <a:cubicBezTo>
                        <a:pt x="15" y="5"/>
                        <a:pt x="15" y="5"/>
                        <a:pt x="15" y="5"/>
                      </a:cubicBezTo>
                      <a:cubicBezTo>
                        <a:pt x="16" y="5"/>
                        <a:pt x="16" y="5"/>
                        <a:pt x="16" y="5"/>
                      </a:cubicBezTo>
                      <a:cubicBezTo>
                        <a:pt x="16" y="4"/>
                        <a:pt x="17" y="4"/>
                        <a:pt x="17" y="3"/>
                      </a:cubicBezTo>
                      <a:cubicBezTo>
                        <a:pt x="17" y="3"/>
                        <a:pt x="17" y="2"/>
                        <a:pt x="17" y="1"/>
                      </a:cubicBezTo>
                      <a:cubicBezTo>
                        <a:pt x="17" y="1"/>
                        <a:pt x="16" y="0"/>
                        <a:pt x="15" y="0"/>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62" name="Freeform 58"/>
                <p:cNvSpPr>
                  <a:spLocks/>
                </p:cNvSpPr>
                <p:nvPr/>
              </p:nvSpPr>
              <p:spPr bwMode="auto">
                <a:xfrm>
                  <a:off x="1846263" y="153987"/>
                  <a:ext cx="57150" cy="12700"/>
                </a:xfrm>
                <a:custGeom>
                  <a:avLst/>
                  <a:gdLst>
                    <a:gd name="T0" fmla="*/ 15 w 18"/>
                    <a:gd name="T1" fmla="*/ 0 h 4"/>
                    <a:gd name="T2" fmla="*/ 15 w 18"/>
                    <a:gd name="T3" fmla="*/ 0 h 4"/>
                    <a:gd name="T4" fmla="*/ 14 w 18"/>
                    <a:gd name="T5" fmla="*/ 0 h 4"/>
                    <a:gd name="T6" fmla="*/ 2 w 18"/>
                    <a:gd name="T7" fmla="*/ 0 h 4"/>
                    <a:gd name="T8" fmla="*/ 0 w 18"/>
                    <a:gd name="T9" fmla="*/ 2 h 4"/>
                    <a:gd name="T10" fmla="*/ 2 w 18"/>
                    <a:gd name="T11" fmla="*/ 4 h 4"/>
                    <a:gd name="T12" fmla="*/ 14 w 18"/>
                    <a:gd name="T13" fmla="*/ 4 h 4"/>
                    <a:gd name="T14" fmla="*/ 15 w 18"/>
                    <a:gd name="T15" fmla="*/ 4 h 4"/>
                    <a:gd name="T16" fmla="*/ 15 w 18"/>
                    <a:gd name="T17" fmla="*/ 4 h 4"/>
                    <a:gd name="T18" fmla="*/ 18 w 18"/>
                    <a:gd name="T19" fmla="*/ 2 h 4"/>
                    <a:gd name="T20" fmla="*/ 15 w 18"/>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4">
                      <a:moveTo>
                        <a:pt x="15" y="0"/>
                      </a:moveTo>
                      <a:cubicBezTo>
                        <a:pt x="15" y="0"/>
                        <a:pt x="15" y="0"/>
                        <a:pt x="15" y="0"/>
                      </a:cubicBezTo>
                      <a:cubicBezTo>
                        <a:pt x="14" y="0"/>
                        <a:pt x="14" y="0"/>
                        <a:pt x="14" y="0"/>
                      </a:cubicBezTo>
                      <a:cubicBezTo>
                        <a:pt x="2" y="0"/>
                        <a:pt x="2" y="0"/>
                        <a:pt x="2" y="0"/>
                      </a:cubicBezTo>
                      <a:cubicBezTo>
                        <a:pt x="1" y="0"/>
                        <a:pt x="0" y="1"/>
                        <a:pt x="0" y="2"/>
                      </a:cubicBezTo>
                      <a:cubicBezTo>
                        <a:pt x="0" y="3"/>
                        <a:pt x="1" y="4"/>
                        <a:pt x="2" y="4"/>
                      </a:cubicBezTo>
                      <a:cubicBezTo>
                        <a:pt x="14" y="4"/>
                        <a:pt x="14" y="4"/>
                        <a:pt x="14" y="4"/>
                      </a:cubicBezTo>
                      <a:cubicBezTo>
                        <a:pt x="15" y="4"/>
                        <a:pt x="15" y="4"/>
                        <a:pt x="15" y="4"/>
                      </a:cubicBezTo>
                      <a:cubicBezTo>
                        <a:pt x="15" y="4"/>
                        <a:pt x="15" y="4"/>
                        <a:pt x="15" y="4"/>
                      </a:cubicBezTo>
                      <a:cubicBezTo>
                        <a:pt x="16" y="4"/>
                        <a:pt x="18" y="3"/>
                        <a:pt x="18" y="2"/>
                      </a:cubicBezTo>
                      <a:cubicBezTo>
                        <a:pt x="18" y="1"/>
                        <a:pt x="16" y="0"/>
                        <a:pt x="15" y="0"/>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63" name="Freeform 59"/>
                <p:cNvSpPr>
                  <a:spLocks noEditPoints="1"/>
                </p:cNvSpPr>
                <p:nvPr/>
              </p:nvSpPr>
              <p:spPr bwMode="auto">
                <a:xfrm>
                  <a:off x="1820863" y="-106363"/>
                  <a:ext cx="92075" cy="117475"/>
                </a:xfrm>
                <a:custGeom>
                  <a:avLst/>
                  <a:gdLst>
                    <a:gd name="T0" fmla="*/ 29 w 29"/>
                    <a:gd name="T1" fmla="*/ 34 h 37"/>
                    <a:gd name="T2" fmla="*/ 26 w 29"/>
                    <a:gd name="T3" fmla="*/ 32 h 37"/>
                    <a:gd name="T4" fmla="*/ 21 w 29"/>
                    <a:gd name="T5" fmla="*/ 32 h 37"/>
                    <a:gd name="T6" fmla="*/ 29 w 29"/>
                    <a:gd name="T7" fmla="*/ 14 h 37"/>
                    <a:gd name="T8" fmla="*/ 14 w 29"/>
                    <a:gd name="T9" fmla="*/ 0 h 37"/>
                    <a:gd name="T10" fmla="*/ 0 w 29"/>
                    <a:gd name="T11" fmla="*/ 14 h 37"/>
                    <a:gd name="T12" fmla="*/ 13 w 29"/>
                    <a:gd name="T13" fmla="*/ 36 h 37"/>
                    <a:gd name="T14" fmla="*/ 14 w 29"/>
                    <a:gd name="T15" fmla="*/ 37 h 37"/>
                    <a:gd name="T16" fmla="*/ 15 w 29"/>
                    <a:gd name="T17" fmla="*/ 37 h 37"/>
                    <a:gd name="T18" fmla="*/ 15 w 29"/>
                    <a:gd name="T19" fmla="*/ 37 h 37"/>
                    <a:gd name="T20" fmla="*/ 26 w 29"/>
                    <a:gd name="T21" fmla="*/ 37 h 37"/>
                    <a:gd name="T22" fmla="*/ 29 w 29"/>
                    <a:gd name="T23" fmla="*/ 34 h 37"/>
                    <a:gd name="T24" fmla="*/ 10 w 29"/>
                    <a:gd name="T25" fmla="*/ 27 h 37"/>
                    <a:gd name="T26" fmla="*/ 4 w 29"/>
                    <a:gd name="T27" fmla="*/ 14 h 37"/>
                    <a:gd name="T28" fmla="*/ 14 w 29"/>
                    <a:gd name="T29" fmla="*/ 4 h 37"/>
                    <a:gd name="T30" fmla="*/ 25 w 29"/>
                    <a:gd name="T31" fmla="*/ 14 h 37"/>
                    <a:gd name="T32" fmla="*/ 19 w 29"/>
                    <a:gd name="T33" fmla="*/ 27 h 37"/>
                    <a:gd name="T34" fmla="*/ 14 w 29"/>
                    <a:gd name="T35" fmla="*/ 31 h 37"/>
                    <a:gd name="T36" fmla="*/ 10 w 29"/>
                    <a:gd name="T37"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37">
                      <a:moveTo>
                        <a:pt x="29" y="34"/>
                      </a:moveTo>
                      <a:cubicBezTo>
                        <a:pt x="29" y="33"/>
                        <a:pt x="28" y="32"/>
                        <a:pt x="26" y="32"/>
                      </a:cubicBezTo>
                      <a:cubicBezTo>
                        <a:pt x="21" y="32"/>
                        <a:pt x="21" y="32"/>
                        <a:pt x="21" y="32"/>
                      </a:cubicBezTo>
                      <a:cubicBezTo>
                        <a:pt x="25" y="28"/>
                        <a:pt x="29" y="22"/>
                        <a:pt x="29" y="14"/>
                      </a:cubicBezTo>
                      <a:cubicBezTo>
                        <a:pt x="29" y="6"/>
                        <a:pt x="23" y="0"/>
                        <a:pt x="14" y="0"/>
                      </a:cubicBezTo>
                      <a:cubicBezTo>
                        <a:pt x="6" y="0"/>
                        <a:pt x="0" y="6"/>
                        <a:pt x="0" y="14"/>
                      </a:cubicBezTo>
                      <a:cubicBezTo>
                        <a:pt x="0" y="28"/>
                        <a:pt x="13" y="36"/>
                        <a:pt x="13" y="36"/>
                      </a:cubicBezTo>
                      <a:cubicBezTo>
                        <a:pt x="14" y="37"/>
                        <a:pt x="14" y="37"/>
                        <a:pt x="14" y="37"/>
                      </a:cubicBezTo>
                      <a:cubicBezTo>
                        <a:pt x="15" y="37"/>
                        <a:pt x="15" y="37"/>
                        <a:pt x="15" y="37"/>
                      </a:cubicBezTo>
                      <a:cubicBezTo>
                        <a:pt x="15" y="37"/>
                        <a:pt x="15" y="37"/>
                        <a:pt x="15" y="37"/>
                      </a:cubicBezTo>
                      <a:cubicBezTo>
                        <a:pt x="26" y="37"/>
                        <a:pt x="26" y="37"/>
                        <a:pt x="26" y="37"/>
                      </a:cubicBezTo>
                      <a:cubicBezTo>
                        <a:pt x="28" y="37"/>
                        <a:pt x="29" y="36"/>
                        <a:pt x="29" y="34"/>
                      </a:cubicBezTo>
                      <a:moveTo>
                        <a:pt x="10" y="27"/>
                      </a:moveTo>
                      <a:cubicBezTo>
                        <a:pt x="6" y="23"/>
                        <a:pt x="4" y="19"/>
                        <a:pt x="4" y="14"/>
                      </a:cubicBezTo>
                      <a:cubicBezTo>
                        <a:pt x="4" y="9"/>
                        <a:pt x="9" y="4"/>
                        <a:pt x="14" y="4"/>
                      </a:cubicBezTo>
                      <a:cubicBezTo>
                        <a:pt x="20" y="4"/>
                        <a:pt x="25" y="9"/>
                        <a:pt x="25" y="14"/>
                      </a:cubicBezTo>
                      <a:cubicBezTo>
                        <a:pt x="25" y="19"/>
                        <a:pt x="23" y="23"/>
                        <a:pt x="19" y="27"/>
                      </a:cubicBezTo>
                      <a:cubicBezTo>
                        <a:pt x="17" y="29"/>
                        <a:pt x="16" y="31"/>
                        <a:pt x="14" y="31"/>
                      </a:cubicBezTo>
                      <a:cubicBezTo>
                        <a:pt x="13" y="31"/>
                        <a:pt x="12" y="29"/>
                        <a:pt x="10" y="27"/>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64" name="Freeform 60"/>
                <p:cNvSpPr>
                  <a:spLocks/>
                </p:cNvSpPr>
                <p:nvPr/>
              </p:nvSpPr>
              <p:spPr bwMode="auto">
                <a:xfrm>
                  <a:off x="1992313" y="26987"/>
                  <a:ext cx="31750" cy="50800"/>
                </a:xfrm>
                <a:custGeom>
                  <a:avLst/>
                  <a:gdLst>
                    <a:gd name="T0" fmla="*/ 10 w 10"/>
                    <a:gd name="T1" fmla="*/ 12 h 16"/>
                    <a:gd name="T2" fmla="*/ 5 w 10"/>
                    <a:gd name="T3" fmla="*/ 2 h 16"/>
                    <a:gd name="T4" fmla="*/ 5 w 10"/>
                    <a:gd name="T5" fmla="*/ 1 h 16"/>
                    <a:gd name="T6" fmla="*/ 4 w 10"/>
                    <a:gd name="T7" fmla="*/ 1 h 16"/>
                    <a:gd name="T8" fmla="*/ 3 w 10"/>
                    <a:gd name="T9" fmla="*/ 0 h 16"/>
                    <a:gd name="T10" fmla="*/ 1 w 10"/>
                    <a:gd name="T11" fmla="*/ 0 h 16"/>
                    <a:gd name="T12" fmla="*/ 0 w 10"/>
                    <a:gd name="T13" fmla="*/ 2 h 16"/>
                    <a:gd name="T14" fmla="*/ 1 w 10"/>
                    <a:gd name="T15" fmla="*/ 3 h 16"/>
                    <a:gd name="T16" fmla="*/ 1 w 10"/>
                    <a:gd name="T17" fmla="*/ 4 h 16"/>
                    <a:gd name="T18" fmla="*/ 1 w 10"/>
                    <a:gd name="T19" fmla="*/ 4 h 16"/>
                    <a:gd name="T20" fmla="*/ 5 w 10"/>
                    <a:gd name="T21" fmla="*/ 13 h 16"/>
                    <a:gd name="T22" fmla="*/ 5 w 10"/>
                    <a:gd name="T23" fmla="*/ 14 h 16"/>
                    <a:gd name="T24" fmla="*/ 7 w 10"/>
                    <a:gd name="T25" fmla="*/ 16 h 16"/>
                    <a:gd name="T26" fmla="*/ 8 w 10"/>
                    <a:gd name="T27" fmla="*/ 16 h 16"/>
                    <a:gd name="T28" fmla="*/ 10 w 10"/>
                    <a:gd name="T29" fmla="*/ 13 h 16"/>
                    <a:gd name="T30" fmla="*/ 10 w 10"/>
                    <a:gd name="T31"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16">
                      <a:moveTo>
                        <a:pt x="10" y="12"/>
                      </a:moveTo>
                      <a:cubicBezTo>
                        <a:pt x="9" y="8"/>
                        <a:pt x="7" y="5"/>
                        <a:pt x="5" y="2"/>
                      </a:cubicBezTo>
                      <a:cubicBezTo>
                        <a:pt x="5" y="1"/>
                        <a:pt x="5" y="1"/>
                        <a:pt x="5" y="1"/>
                      </a:cubicBezTo>
                      <a:cubicBezTo>
                        <a:pt x="4" y="1"/>
                        <a:pt x="4" y="1"/>
                        <a:pt x="4" y="1"/>
                      </a:cubicBezTo>
                      <a:cubicBezTo>
                        <a:pt x="4" y="0"/>
                        <a:pt x="3" y="0"/>
                        <a:pt x="3" y="0"/>
                      </a:cubicBezTo>
                      <a:cubicBezTo>
                        <a:pt x="2" y="0"/>
                        <a:pt x="2" y="0"/>
                        <a:pt x="1" y="0"/>
                      </a:cubicBezTo>
                      <a:cubicBezTo>
                        <a:pt x="1" y="1"/>
                        <a:pt x="0" y="1"/>
                        <a:pt x="0" y="2"/>
                      </a:cubicBezTo>
                      <a:cubicBezTo>
                        <a:pt x="0" y="2"/>
                        <a:pt x="0" y="3"/>
                        <a:pt x="1" y="3"/>
                      </a:cubicBezTo>
                      <a:cubicBezTo>
                        <a:pt x="1" y="4"/>
                        <a:pt x="1" y="4"/>
                        <a:pt x="1" y="4"/>
                      </a:cubicBezTo>
                      <a:cubicBezTo>
                        <a:pt x="1" y="4"/>
                        <a:pt x="1" y="4"/>
                        <a:pt x="1" y="4"/>
                      </a:cubicBezTo>
                      <a:cubicBezTo>
                        <a:pt x="3" y="7"/>
                        <a:pt x="4" y="10"/>
                        <a:pt x="5" y="13"/>
                      </a:cubicBezTo>
                      <a:cubicBezTo>
                        <a:pt x="5" y="13"/>
                        <a:pt x="5" y="14"/>
                        <a:pt x="5" y="14"/>
                      </a:cubicBezTo>
                      <a:cubicBezTo>
                        <a:pt x="5" y="15"/>
                        <a:pt x="6" y="16"/>
                        <a:pt x="7" y="16"/>
                      </a:cubicBezTo>
                      <a:cubicBezTo>
                        <a:pt x="8" y="16"/>
                        <a:pt x="8" y="16"/>
                        <a:pt x="8" y="16"/>
                      </a:cubicBezTo>
                      <a:cubicBezTo>
                        <a:pt x="9" y="16"/>
                        <a:pt x="10" y="15"/>
                        <a:pt x="10" y="13"/>
                      </a:cubicBezTo>
                      <a:cubicBezTo>
                        <a:pt x="10" y="13"/>
                        <a:pt x="10" y="12"/>
                        <a:pt x="10" y="12"/>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65" name="Freeform 61"/>
                <p:cNvSpPr>
                  <a:spLocks/>
                </p:cNvSpPr>
                <p:nvPr/>
              </p:nvSpPr>
              <p:spPr bwMode="auto">
                <a:xfrm>
                  <a:off x="1985963" y="93662"/>
                  <a:ext cx="34925" cy="50800"/>
                </a:xfrm>
                <a:custGeom>
                  <a:avLst/>
                  <a:gdLst>
                    <a:gd name="T0" fmla="*/ 9 w 11"/>
                    <a:gd name="T1" fmla="*/ 1 h 16"/>
                    <a:gd name="T2" fmla="*/ 9 w 11"/>
                    <a:gd name="T3" fmla="*/ 0 h 16"/>
                    <a:gd name="T4" fmla="*/ 7 w 11"/>
                    <a:gd name="T5" fmla="*/ 2 h 16"/>
                    <a:gd name="T6" fmla="*/ 7 w 11"/>
                    <a:gd name="T7" fmla="*/ 3 h 16"/>
                    <a:gd name="T8" fmla="*/ 6 w 11"/>
                    <a:gd name="T9" fmla="*/ 3 h 16"/>
                    <a:gd name="T10" fmla="*/ 2 w 11"/>
                    <a:gd name="T11" fmla="*/ 11 h 16"/>
                    <a:gd name="T12" fmla="*/ 2 w 11"/>
                    <a:gd name="T13" fmla="*/ 11 h 16"/>
                    <a:gd name="T14" fmla="*/ 1 w 11"/>
                    <a:gd name="T15" fmla="*/ 12 h 16"/>
                    <a:gd name="T16" fmla="*/ 1 w 11"/>
                    <a:gd name="T17" fmla="*/ 15 h 16"/>
                    <a:gd name="T18" fmla="*/ 3 w 11"/>
                    <a:gd name="T19" fmla="*/ 16 h 16"/>
                    <a:gd name="T20" fmla="*/ 4 w 11"/>
                    <a:gd name="T21" fmla="*/ 15 h 16"/>
                    <a:gd name="T22" fmla="*/ 5 w 11"/>
                    <a:gd name="T23" fmla="*/ 14 h 16"/>
                    <a:gd name="T24" fmla="*/ 11 w 11"/>
                    <a:gd name="T25" fmla="*/ 5 h 16"/>
                    <a:gd name="T26" fmla="*/ 11 w 11"/>
                    <a:gd name="T27" fmla="*/ 4 h 16"/>
                    <a:gd name="T28" fmla="*/ 11 w 11"/>
                    <a:gd name="T29" fmla="*/ 3 h 16"/>
                    <a:gd name="T30" fmla="*/ 11 w 11"/>
                    <a:gd name="T31" fmla="*/ 2 h 16"/>
                    <a:gd name="T32" fmla="*/ 9 w 11"/>
                    <a:gd name="T33"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6">
                      <a:moveTo>
                        <a:pt x="9" y="1"/>
                      </a:moveTo>
                      <a:cubicBezTo>
                        <a:pt x="9" y="0"/>
                        <a:pt x="9" y="0"/>
                        <a:pt x="9" y="0"/>
                      </a:cubicBezTo>
                      <a:cubicBezTo>
                        <a:pt x="8" y="0"/>
                        <a:pt x="7" y="1"/>
                        <a:pt x="7" y="2"/>
                      </a:cubicBezTo>
                      <a:cubicBezTo>
                        <a:pt x="7" y="3"/>
                        <a:pt x="7" y="3"/>
                        <a:pt x="7" y="3"/>
                      </a:cubicBezTo>
                      <a:cubicBezTo>
                        <a:pt x="6" y="3"/>
                        <a:pt x="6" y="3"/>
                        <a:pt x="6" y="3"/>
                      </a:cubicBezTo>
                      <a:cubicBezTo>
                        <a:pt x="5" y="6"/>
                        <a:pt x="4" y="9"/>
                        <a:pt x="2" y="11"/>
                      </a:cubicBezTo>
                      <a:cubicBezTo>
                        <a:pt x="2" y="11"/>
                        <a:pt x="2" y="11"/>
                        <a:pt x="2" y="11"/>
                      </a:cubicBezTo>
                      <a:cubicBezTo>
                        <a:pt x="1" y="12"/>
                        <a:pt x="1" y="12"/>
                        <a:pt x="1" y="12"/>
                      </a:cubicBezTo>
                      <a:cubicBezTo>
                        <a:pt x="0" y="13"/>
                        <a:pt x="0" y="14"/>
                        <a:pt x="1" y="15"/>
                      </a:cubicBezTo>
                      <a:cubicBezTo>
                        <a:pt x="1" y="16"/>
                        <a:pt x="2" y="16"/>
                        <a:pt x="3" y="16"/>
                      </a:cubicBezTo>
                      <a:cubicBezTo>
                        <a:pt x="3" y="16"/>
                        <a:pt x="4" y="16"/>
                        <a:pt x="4" y="15"/>
                      </a:cubicBezTo>
                      <a:cubicBezTo>
                        <a:pt x="5" y="14"/>
                        <a:pt x="5" y="14"/>
                        <a:pt x="5" y="14"/>
                      </a:cubicBezTo>
                      <a:cubicBezTo>
                        <a:pt x="8" y="12"/>
                        <a:pt x="10" y="8"/>
                        <a:pt x="11" y="5"/>
                      </a:cubicBezTo>
                      <a:cubicBezTo>
                        <a:pt x="11" y="4"/>
                        <a:pt x="11" y="4"/>
                        <a:pt x="11" y="4"/>
                      </a:cubicBezTo>
                      <a:cubicBezTo>
                        <a:pt x="11" y="3"/>
                        <a:pt x="11" y="3"/>
                        <a:pt x="11" y="3"/>
                      </a:cubicBezTo>
                      <a:cubicBezTo>
                        <a:pt x="11" y="3"/>
                        <a:pt x="11" y="2"/>
                        <a:pt x="11" y="2"/>
                      </a:cubicBezTo>
                      <a:cubicBezTo>
                        <a:pt x="11" y="1"/>
                        <a:pt x="10" y="1"/>
                        <a:pt x="9" y="1"/>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grpSp>
          <p:sp>
            <p:nvSpPr>
              <p:cNvPr id="571" name="Rounded Rectangle 570"/>
              <p:cNvSpPr/>
              <p:nvPr/>
            </p:nvSpPr>
            <p:spPr bwMode="auto">
              <a:xfrm>
                <a:off x="5116790" y="2703100"/>
                <a:ext cx="751133" cy="751133"/>
              </a:xfrm>
              <a:prstGeom prst="roundRect">
                <a:avLst>
                  <a:gd name="adj" fmla="val 9693"/>
                </a:avLst>
              </a:prstGeom>
              <a:solidFill>
                <a:srgbClr val="666666"/>
              </a:solidFill>
              <a:ln w="12700" cap="flat" cmpd="sng" algn="ctr">
                <a:noFill/>
                <a:prstDash val="solid"/>
                <a:round/>
                <a:headEnd type="none" w="med" len="med"/>
                <a:tailEnd type="none" w="med" len="med"/>
              </a:ln>
              <a:effectLst/>
            </p:spPr>
            <p:txBody>
              <a:bodyPr vert="horz" wrap="square" lIns="18288" tIns="18288" rIns="18288" bIns="18288" numCol="1" rtlCol="0" anchor="b" anchorCtr="0" compatLnSpc="1">
                <a:prstTxWarp prst="textNoShape">
                  <a:avLst/>
                </a:prstTxWarp>
                <a:noAutofit/>
              </a:bodyPr>
              <a:lstStyle/>
              <a:p>
                <a:pPr algn="ctr"/>
                <a:r>
                  <a:rPr lang="tr-TR" sz="800" dirty="0">
                    <a:solidFill>
                      <a:srgbClr val="FFFFFF"/>
                    </a:solidFill>
                    <a:latin typeface="Calibri"/>
                  </a:rPr>
                  <a:t>DEPO</a:t>
                </a:r>
              </a:p>
              <a:p>
                <a:pPr algn="ctr"/>
                <a:r>
                  <a:rPr lang="tr-TR" sz="700" dirty="0">
                    <a:solidFill>
                      <a:srgbClr val="FFFFFF"/>
                    </a:solidFill>
                    <a:latin typeface="Calibri"/>
                  </a:rPr>
                  <a:t>OPTİMİZASYON</a:t>
                </a:r>
                <a:endParaRPr lang="en-US" sz="700" dirty="0">
                  <a:solidFill>
                    <a:srgbClr val="FFFFFF"/>
                  </a:solidFill>
                  <a:latin typeface="Calibri"/>
                </a:endParaRPr>
              </a:p>
            </p:txBody>
          </p:sp>
          <p:grpSp>
            <p:nvGrpSpPr>
              <p:cNvPr id="572" name="Group 571"/>
              <p:cNvGrpSpPr/>
              <p:nvPr/>
            </p:nvGrpSpPr>
            <p:grpSpPr>
              <a:xfrm>
                <a:off x="5333482" y="2803753"/>
                <a:ext cx="317748" cy="267869"/>
                <a:chOff x="2352675" y="-134938"/>
                <a:chExt cx="546100" cy="460375"/>
              </a:xfrm>
            </p:grpSpPr>
            <p:sp>
              <p:nvSpPr>
                <p:cNvPr id="746" name="Freeform 62"/>
                <p:cNvSpPr>
                  <a:spLocks noEditPoints="1"/>
                </p:cNvSpPr>
                <p:nvPr/>
              </p:nvSpPr>
              <p:spPr bwMode="auto">
                <a:xfrm>
                  <a:off x="2352675" y="-134938"/>
                  <a:ext cx="546100" cy="460375"/>
                </a:xfrm>
                <a:custGeom>
                  <a:avLst/>
                  <a:gdLst>
                    <a:gd name="T0" fmla="*/ 0 w 172"/>
                    <a:gd name="T1" fmla="*/ 132 h 145"/>
                    <a:gd name="T2" fmla="*/ 172 w 172"/>
                    <a:gd name="T3" fmla="*/ 13 h 145"/>
                    <a:gd name="T4" fmla="*/ 148 w 172"/>
                    <a:gd name="T5" fmla="*/ 75 h 145"/>
                    <a:gd name="T6" fmla="*/ 137 w 172"/>
                    <a:gd name="T7" fmla="*/ 38 h 145"/>
                    <a:gd name="T8" fmla="*/ 167 w 172"/>
                    <a:gd name="T9" fmla="*/ 13 h 145"/>
                    <a:gd name="T10" fmla="*/ 132 w 172"/>
                    <a:gd name="T11" fmla="*/ 40 h 145"/>
                    <a:gd name="T12" fmla="*/ 67 w 172"/>
                    <a:gd name="T13" fmla="*/ 49 h 145"/>
                    <a:gd name="T14" fmla="*/ 100 w 172"/>
                    <a:gd name="T15" fmla="*/ 19 h 145"/>
                    <a:gd name="T16" fmla="*/ 132 w 172"/>
                    <a:gd name="T17" fmla="*/ 5 h 145"/>
                    <a:gd name="T18" fmla="*/ 161 w 172"/>
                    <a:gd name="T19" fmla="*/ 16 h 145"/>
                    <a:gd name="T20" fmla="*/ 119 w 172"/>
                    <a:gd name="T21" fmla="*/ 5 h 145"/>
                    <a:gd name="T22" fmla="*/ 137 w 172"/>
                    <a:gd name="T23" fmla="*/ 5 h 145"/>
                    <a:gd name="T24" fmla="*/ 137 w 172"/>
                    <a:gd name="T25" fmla="*/ 5 h 145"/>
                    <a:gd name="T26" fmla="*/ 32 w 172"/>
                    <a:gd name="T27" fmla="*/ 13 h 145"/>
                    <a:gd name="T28" fmla="*/ 27 w 172"/>
                    <a:gd name="T29" fmla="*/ 16 h 145"/>
                    <a:gd name="T30" fmla="*/ 45 w 172"/>
                    <a:gd name="T31" fmla="*/ 5 h 145"/>
                    <a:gd name="T32" fmla="*/ 5 w 172"/>
                    <a:gd name="T33" fmla="*/ 43 h 145"/>
                    <a:gd name="T34" fmla="*/ 19 w 172"/>
                    <a:gd name="T35" fmla="*/ 24 h 145"/>
                    <a:gd name="T36" fmla="*/ 26 w 172"/>
                    <a:gd name="T37" fmla="*/ 75 h 145"/>
                    <a:gd name="T38" fmla="*/ 35 w 172"/>
                    <a:gd name="T39" fmla="*/ 94 h 145"/>
                    <a:gd name="T40" fmla="*/ 35 w 172"/>
                    <a:gd name="T41" fmla="*/ 94 h 145"/>
                    <a:gd name="T42" fmla="*/ 34 w 172"/>
                    <a:gd name="T43" fmla="*/ 93 h 145"/>
                    <a:gd name="T44" fmla="*/ 34 w 172"/>
                    <a:gd name="T45" fmla="*/ 93 h 145"/>
                    <a:gd name="T46" fmla="*/ 23 w 172"/>
                    <a:gd name="T47" fmla="*/ 81 h 145"/>
                    <a:gd name="T48" fmla="*/ 23 w 172"/>
                    <a:gd name="T49" fmla="*/ 81 h 145"/>
                    <a:gd name="T50" fmla="*/ 22 w 172"/>
                    <a:gd name="T51" fmla="*/ 81 h 145"/>
                    <a:gd name="T52" fmla="*/ 22 w 172"/>
                    <a:gd name="T53" fmla="*/ 81 h 145"/>
                    <a:gd name="T54" fmla="*/ 5 w 172"/>
                    <a:gd name="T55" fmla="*/ 75 h 145"/>
                    <a:gd name="T56" fmla="*/ 13 w 172"/>
                    <a:gd name="T57" fmla="*/ 121 h 145"/>
                    <a:gd name="T58" fmla="*/ 16 w 172"/>
                    <a:gd name="T59" fmla="*/ 29 h 145"/>
                    <a:gd name="T60" fmla="*/ 5 w 172"/>
                    <a:gd name="T61" fmla="*/ 132 h 145"/>
                    <a:gd name="T62" fmla="*/ 19 w 172"/>
                    <a:gd name="T63" fmla="*/ 100 h 145"/>
                    <a:gd name="T64" fmla="*/ 20 w 172"/>
                    <a:gd name="T65" fmla="*/ 86 h 145"/>
                    <a:gd name="T66" fmla="*/ 43 w 172"/>
                    <a:gd name="T67" fmla="*/ 126 h 145"/>
                    <a:gd name="T68" fmla="*/ 45 w 172"/>
                    <a:gd name="T69" fmla="*/ 88 h 145"/>
                    <a:gd name="T70" fmla="*/ 45 w 172"/>
                    <a:gd name="T71" fmla="*/ 88 h 145"/>
                    <a:gd name="T72" fmla="*/ 45 w 172"/>
                    <a:gd name="T73" fmla="*/ 88 h 145"/>
                    <a:gd name="T74" fmla="*/ 45 w 172"/>
                    <a:gd name="T75" fmla="*/ 87 h 145"/>
                    <a:gd name="T76" fmla="*/ 28 w 172"/>
                    <a:gd name="T77" fmla="*/ 71 h 145"/>
                    <a:gd name="T78" fmla="*/ 28 w 172"/>
                    <a:gd name="T79" fmla="*/ 70 h 145"/>
                    <a:gd name="T80" fmla="*/ 27 w 172"/>
                    <a:gd name="T81" fmla="*/ 70 h 145"/>
                    <a:gd name="T82" fmla="*/ 27 w 172"/>
                    <a:gd name="T83" fmla="*/ 70 h 145"/>
                    <a:gd name="T84" fmla="*/ 51 w 172"/>
                    <a:gd name="T85" fmla="*/ 140 h 145"/>
                    <a:gd name="T86" fmla="*/ 67 w 172"/>
                    <a:gd name="T87" fmla="*/ 64 h 145"/>
                    <a:gd name="T88" fmla="*/ 147 w 172"/>
                    <a:gd name="T89" fmla="*/ 140 h 145"/>
                    <a:gd name="T90" fmla="*/ 62 w 172"/>
                    <a:gd name="T91" fmla="*/ 62 h 145"/>
                    <a:gd name="T92" fmla="*/ 56 w 172"/>
                    <a:gd name="T93" fmla="*/ 60 h 145"/>
                    <a:gd name="T94" fmla="*/ 54 w 172"/>
                    <a:gd name="T95" fmla="*/ 54 h 145"/>
                    <a:gd name="T96" fmla="*/ 62 w 172"/>
                    <a:gd name="T97" fmla="*/ 51 h 145"/>
                    <a:gd name="T98" fmla="*/ 167 w 172"/>
                    <a:gd name="T99" fmla="*/ 59 h 145"/>
                    <a:gd name="T100" fmla="*/ 153 w 172"/>
                    <a:gd name="T101" fmla="*/ 140 h 145"/>
                    <a:gd name="T102" fmla="*/ 130 w 172"/>
                    <a:gd name="T103" fmla="*/ 64 h 145"/>
                    <a:gd name="T104" fmla="*/ 143 w 172"/>
                    <a:gd name="T105" fmla="*/ 73 h 145"/>
                    <a:gd name="T106" fmla="*/ 167 w 172"/>
                    <a:gd name="T107" fmla="*/ 1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2" h="145">
                      <a:moveTo>
                        <a:pt x="159" y="0"/>
                      </a:moveTo>
                      <a:cubicBezTo>
                        <a:pt x="13" y="0"/>
                        <a:pt x="13" y="0"/>
                        <a:pt x="13" y="0"/>
                      </a:cubicBezTo>
                      <a:cubicBezTo>
                        <a:pt x="6" y="0"/>
                        <a:pt x="0" y="6"/>
                        <a:pt x="0" y="13"/>
                      </a:cubicBezTo>
                      <a:cubicBezTo>
                        <a:pt x="0" y="132"/>
                        <a:pt x="0" y="132"/>
                        <a:pt x="0" y="132"/>
                      </a:cubicBezTo>
                      <a:cubicBezTo>
                        <a:pt x="0" y="139"/>
                        <a:pt x="6" y="145"/>
                        <a:pt x="13" y="145"/>
                      </a:cubicBezTo>
                      <a:cubicBezTo>
                        <a:pt x="159" y="145"/>
                        <a:pt x="159" y="145"/>
                        <a:pt x="159" y="145"/>
                      </a:cubicBezTo>
                      <a:cubicBezTo>
                        <a:pt x="166" y="145"/>
                        <a:pt x="172" y="139"/>
                        <a:pt x="172" y="132"/>
                      </a:cubicBezTo>
                      <a:cubicBezTo>
                        <a:pt x="172" y="13"/>
                        <a:pt x="172" y="13"/>
                        <a:pt x="172" y="13"/>
                      </a:cubicBezTo>
                      <a:cubicBezTo>
                        <a:pt x="172" y="6"/>
                        <a:pt x="166" y="0"/>
                        <a:pt x="159" y="0"/>
                      </a:cubicBezTo>
                      <a:moveTo>
                        <a:pt x="167" y="81"/>
                      </a:moveTo>
                      <a:cubicBezTo>
                        <a:pt x="148" y="81"/>
                        <a:pt x="148" y="81"/>
                        <a:pt x="148" y="81"/>
                      </a:cubicBezTo>
                      <a:cubicBezTo>
                        <a:pt x="148" y="75"/>
                        <a:pt x="148" y="75"/>
                        <a:pt x="148" y="75"/>
                      </a:cubicBezTo>
                      <a:cubicBezTo>
                        <a:pt x="167" y="75"/>
                        <a:pt x="167" y="75"/>
                        <a:pt x="167" y="75"/>
                      </a:cubicBezTo>
                      <a:lnTo>
                        <a:pt x="167" y="81"/>
                      </a:lnTo>
                      <a:close/>
                      <a:moveTo>
                        <a:pt x="167" y="38"/>
                      </a:moveTo>
                      <a:cubicBezTo>
                        <a:pt x="137" y="38"/>
                        <a:pt x="137" y="38"/>
                        <a:pt x="137" y="38"/>
                      </a:cubicBezTo>
                      <a:cubicBezTo>
                        <a:pt x="137" y="32"/>
                        <a:pt x="137" y="32"/>
                        <a:pt x="137" y="32"/>
                      </a:cubicBezTo>
                      <a:cubicBezTo>
                        <a:pt x="167" y="32"/>
                        <a:pt x="167" y="32"/>
                        <a:pt x="167" y="32"/>
                      </a:cubicBezTo>
                      <a:lnTo>
                        <a:pt x="167" y="38"/>
                      </a:lnTo>
                      <a:close/>
                      <a:moveTo>
                        <a:pt x="167" y="13"/>
                      </a:moveTo>
                      <a:cubicBezTo>
                        <a:pt x="167" y="27"/>
                        <a:pt x="167" y="27"/>
                        <a:pt x="167" y="27"/>
                      </a:cubicBezTo>
                      <a:cubicBezTo>
                        <a:pt x="135" y="27"/>
                        <a:pt x="135" y="27"/>
                        <a:pt x="135" y="27"/>
                      </a:cubicBezTo>
                      <a:cubicBezTo>
                        <a:pt x="133" y="27"/>
                        <a:pt x="132" y="28"/>
                        <a:pt x="132" y="29"/>
                      </a:cubicBezTo>
                      <a:cubicBezTo>
                        <a:pt x="132" y="40"/>
                        <a:pt x="132" y="40"/>
                        <a:pt x="132" y="40"/>
                      </a:cubicBezTo>
                      <a:cubicBezTo>
                        <a:pt x="132" y="42"/>
                        <a:pt x="133" y="43"/>
                        <a:pt x="135" y="43"/>
                      </a:cubicBezTo>
                      <a:cubicBezTo>
                        <a:pt x="167" y="43"/>
                        <a:pt x="167" y="43"/>
                        <a:pt x="167" y="43"/>
                      </a:cubicBezTo>
                      <a:cubicBezTo>
                        <a:pt x="167" y="49"/>
                        <a:pt x="167" y="49"/>
                        <a:pt x="167" y="49"/>
                      </a:cubicBezTo>
                      <a:cubicBezTo>
                        <a:pt x="67" y="49"/>
                        <a:pt x="67" y="49"/>
                        <a:pt x="67" y="49"/>
                      </a:cubicBezTo>
                      <a:cubicBezTo>
                        <a:pt x="67" y="5"/>
                        <a:pt x="67" y="5"/>
                        <a:pt x="67" y="5"/>
                      </a:cubicBezTo>
                      <a:cubicBezTo>
                        <a:pt x="97" y="5"/>
                        <a:pt x="97" y="5"/>
                        <a:pt x="97" y="5"/>
                      </a:cubicBezTo>
                      <a:cubicBezTo>
                        <a:pt x="97" y="16"/>
                        <a:pt x="97" y="16"/>
                        <a:pt x="97" y="16"/>
                      </a:cubicBezTo>
                      <a:cubicBezTo>
                        <a:pt x="97" y="17"/>
                        <a:pt x="98" y="19"/>
                        <a:pt x="100" y="19"/>
                      </a:cubicBezTo>
                      <a:cubicBezTo>
                        <a:pt x="121" y="19"/>
                        <a:pt x="121" y="19"/>
                        <a:pt x="121" y="19"/>
                      </a:cubicBezTo>
                      <a:cubicBezTo>
                        <a:pt x="123" y="19"/>
                        <a:pt x="124" y="17"/>
                        <a:pt x="124" y="16"/>
                      </a:cubicBezTo>
                      <a:cubicBezTo>
                        <a:pt x="124" y="5"/>
                        <a:pt x="124" y="5"/>
                        <a:pt x="124" y="5"/>
                      </a:cubicBezTo>
                      <a:cubicBezTo>
                        <a:pt x="132" y="5"/>
                        <a:pt x="132" y="5"/>
                        <a:pt x="132" y="5"/>
                      </a:cubicBezTo>
                      <a:cubicBezTo>
                        <a:pt x="132" y="16"/>
                        <a:pt x="132" y="16"/>
                        <a:pt x="132" y="16"/>
                      </a:cubicBezTo>
                      <a:cubicBezTo>
                        <a:pt x="132" y="17"/>
                        <a:pt x="133" y="19"/>
                        <a:pt x="135" y="19"/>
                      </a:cubicBezTo>
                      <a:cubicBezTo>
                        <a:pt x="159" y="19"/>
                        <a:pt x="159" y="19"/>
                        <a:pt x="159" y="19"/>
                      </a:cubicBezTo>
                      <a:cubicBezTo>
                        <a:pt x="160" y="19"/>
                        <a:pt x="161" y="17"/>
                        <a:pt x="161" y="16"/>
                      </a:cubicBezTo>
                      <a:cubicBezTo>
                        <a:pt x="161" y="5"/>
                        <a:pt x="161" y="5"/>
                        <a:pt x="161" y="5"/>
                      </a:cubicBezTo>
                      <a:cubicBezTo>
                        <a:pt x="165" y="7"/>
                        <a:pt x="167" y="10"/>
                        <a:pt x="167" y="13"/>
                      </a:cubicBezTo>
                      <a:moveTo>
                        <a:pt x="102" y="5"/>
                      </a:moveTo>
                      <a:cubicBezTo>
                        <a:pt x="119" y="5"/>
                        <a:pt x="119" y="5"/>
                        <a:pt x="119" y="5"/>
                      </a:cubicBezTo>
                      <a:cubicBezTo>
                        <a:pt x="119" y="13"/>
                        <a:pt x="119" y="13"/>
                        <a:pt x="119" y="13"/>
                      </a:cubicBezTo>
                      <a:cubicBezTo>
                        <a:pt x="102" y="13"/>
                        <a:pt x="102" y="13"/>
                        <a:pt x="102" y="13"/>
                      </a:cubicBezTo>
                      <a:lnTo>
                        <a:pt x="102" y="5"/>
                      </a:lnTo>
                      <a:close/>
                      <a:moveTo>
                        <a:pt x="137" y="5"/>
                      </a:moveTo>
                      <a:cubicBezTo>
                        <a:pt x="156" y="5"/>
                        <a:pt x="156" y="5"/>
                        <a:pt x="156" y="5"/>
                      </a:cubicBezTo>
                      <a:cubicBezTo>
                        <a:pt x="156" y="13"/>
                        <a:pt x="156" y="13"/>
                        <a:pt x="156" y="13"/>
                      </a:cubicBezTo>
                      <a:cubicBezTo>
                        <a:pt x="137" y="13"/>
                        <a:pt x="137" y="13"/>
                        <a:pt x="137" y="13"/>
                      </a:cubicBezTo>
                      <a:lnTo>
                        <a:pt x="137" y="5"/>
                      </a:lnTo>
                      <a:close/>
                      <a:moveTo>
                        <a:pt x="32" y="5"/>
                      </a:moveTo>
                      <a:cubicBezTo>
                        <a:pt x="40" y="5"/>
                        <a:pt x="40" y="5"/>
                        <a:pt x="40" y="5"/>
                      </a:cubicBezTo>
                      <a:cubicBezTo>
                        <a:pt x="40" y="13"/>
                        <a:pt x="40" y="13"/>
                        <a:pt x="40" y="13"/>
                      </a:cubicBezTo>
                      <a:cubicBezTo>
                        <a:pt x="32" y="13"/>
                        <a:pt x="32" y="13"/>
                        <a:pt x="32" y="13"/>
                      </a:cubicBezTo>
                      <a:lnTo>
                        <a:pt x="32" y="5"/>
                      </a:lnTo>
                      <a:close/>
                      <a:moveTo>
                        <a:pt x="13" y="5"/>
                      </a:moveTo>
                      <a:cubicBezTo>
                        <a:pt x="27" y="5"/>
                        <a:pt x="27" y="5"/>
                        <a:pt x="27" y="5"/>
                      </a:cubicBezTo>
                      <a:cubicBezTo>
                        <a:pt x="27" y="16"/>
                        <a:pt x="27" y="16"/>
                        <a:pt x="27" y="16"/>
                      </a:cubicBezTo>
                      <a:cubicBezTo>
                        <a:pt x="27" y="17"/>
                        <a:pt x="28" y="19"/>
                        <a:pt x="29" y="19"/>
                      </a:cubicBezTo>
                      <a:cubicBezTo>
                        <a:pt x="43" y="19"/>
                        <a:pt x="43" y="19"/>
                        <a:pt x="43" y="19"/>
                      </a:cubicBezTo>
                      <a:cubicBezTo>
                        <a:pt x="44" y="19"/>
                        <a:pt x="45" y="17"/>
                        <a:pt x="45" y="16"/>
                      </a:cubicBezTo>
                      <a:cubicBezTo>
                        <a:pt x="45" y="5"/>
                        <a:pt x="45" y="5"/>
                        <a:pt x="45" y="5"/>
                      </a:cubicBezTo>
                      <a:cubicBezTo>
                        <a:pt x="51" y="5"/>
                        <a:pt x="51" y="5"/>
                        <a:pt x="51" y="5"/>
                      </a:cubicBezTo>
                      <a:cubicBezTo>
                        <a:pt x="51" y="49"/>
                        <a:pt x="51" y="49"/>
                        <a:pt x="51" y="49"/>
                      </a:cubicBezTo>
                      <a:cubicBezTo>
                        <a:pt x="5" y="49"/>
                        <a:pt x="5" y="49"/>
                        <a:pt x="5" y="49"/>
                      </a:cubicBezTo>
                      <a:cubicBezTo>
                        <a:pt x="5" y="43"/>
                        <a:pt x="5" y="43"/>
                        <a:pt x="5" y="43"/>
                      </a:cubicBezTo>
                      <a:cubicBezTo>
                        <a:pt x="19" y="43"/>
                        <a:pt x="19" y="43"/>
                        <a:pt x="19" y="43"/>
                      </a:cubicBezTo>
                      <a:cubicBezTo>
                        <a:pt x="20" y="43"/>
                        <a:pt x="21" y="42"/>
                        <a:pt x="21" y="40"/>
                      </a:cubicBezTo>
                      <a:cubicBezTo>
                        <a:pt x="21" y="27"/>
                        <a:pt x="21" y="27"/>
                        <a:pt x="21" y="27"/>
                      </a:cubicBezTo>
                      <a:cubicBezTo>
                        <a:pt x="21" y="25"/>
                        <a:pt x="20" y="24"/>
                        <a:pt x="19" y="24"/>
                      </a:cubicBezTo>
                      <a:cubicBezTo>
                        <a:pt x="5" y="24"/>
                        <a:pt x="5" y="24"/>
                        <a:pt x="5" y="24"/>
                      </a:cubicBezTo>
                      <a:cubicBezTo>
                        <a:pt x="5" y="13"/>
                        <a:pt x="5" y="13"/>
                        <a:pt x="5" y="13"/>
                      </a:cubicBezTo>
                      <a:cubicBezTo>
                        <a:pt x="5" y="9"/>
                        <a:pt x="9" y="5"/>
                        <a:pt x="13" y="5"/>
                      </a:cubicBezTo>
                      <a:moveTo>
                        <a:pt x="26" y="75"/>
                      </a:moveTo>
                      <a:cubicBezTo>
                        <a:pt x="40" y="90"/>
                        <a:pt x="40" y="90"/>
                        <a:pt x="40" y="90"/>
                      </a:cubicBezTo>
                      <a:cubicBezTo>
                        <a:pt x="40" y="121"/>
                        <a:pt x="40" y="121"/>
                        <a:pt x="40" y="121"/>
                      </a:cubicBezTo>
                      <a:cubicBezTo>
                        <a:pt x="35" y="121"/>
                        <a:pt x="35" y="121"/>
                        <a:pt x="35" y="121"/>
                      </a:cubicBezTo>
                      <a:cubicBezTo>
                        <a:pt x="35" y="94"/>
                        <a:pt x="35" y="94"/>
                        <a:pt x="35" y="94"/>
                      </a:cubicBezTo>
                      <a:cubicBezTo>
                        <a:pt x="35" y="94"/>
                        <a:pt x="35" y="94"/>
                        <a:pt x="35" y="94"/>
                      </a:cubicBezTo>
                      <a:cubicBezTo>
                        <a:pt x="35" y="94"/>
                        <a:pt x="35" y="94"/>
                        <a:pt x="35" y="94"/>
                      </a:cubicBezTo>
                      <a:cubicBezTo>
                        <a:pt x="35" y="94"/>
                        <a:pt x="35" y="94"/>
                        <a:pt x="35" y="94"/>
                      </a:cubicBezTo>
                      <a:cubicBezTo>
                        <a:pt x="35" y="94"/>
                        <a:pt x="35" y="94"/>
                        <a:pt x="35" y="94"/>
                      </a:cubicBezTo>
                      <a:cubicBezTo>
                        <a:pt x="35" y="93"/>
                        <a:pt x="35" y="93"/>
                        <a:pt x="35" y="93"/>
                      </a:cubicBezTo>
                      <a:cubicBezTo>
                        <a:pt x="35" y="93"/>
                        <a:pt x="35" y="93"/>
                        <a:pt x="35" y="93"/>
                      </a:cubicBezTo>
                      <a:cubicBezTo>
                        <a:pt x="34" y="93"/>
                        <a:pt x="34" y="93"/>
                        <a:pt x="34" y="93"/>
                      </a:cubicBezTo>
                      <a:cubicBezTo>
                        <a:pt x="34" y="93"/>
                        <a:pt x="34" y="93"/>
                        <a:pt x="34" y="93"/>
                      </a:cubicBezTo>
                      <a:cubicBezTo>
                        <a:pt x="34" y="93"/>
                        <a:pt x="34" y="93"/>
                        <a:pt x="34" y="93"/>
                      </a:cubicBezTo>
                      <a:cubicBezTo>
                        <a:pt x="34" y="93"/>
                        <a:pt x="34" y="93"/>
                        <a:pt x="34" y="93"/>
                      </a:cubicBezTo>
                      <a:cubicBezTo>
                        <a:pt x="34" y="93"/>
                        <a:pt x="34" y="93"/>
                        <a:pt x="34" y="93"/>
                      </a:cubicBezTo>
                      <a:cubicBezTo>
                        <a:pt x="34" y="93"/>
                        <a:pt x="34" y="93"/>
                        <a:pt x="34" y="93"/>
                      </a:cubicBezTo>
                      <a:cubicBezTo>
                        <a:pt x="34" y="93"/>
                        <a:pt x="34" y="93"/>
                        <a:pt x="34" y="93"/>
                      </a:cubicBezTo>
                      <a:cubicBezTo>
                        <a:pt x="34" y="92"/>
                        <a:pt x="34" y="92"/>
                        <a:pt x="34" y="92"/>
                      </a:cubicBezTo>
                      <a:cubicBezTo>
                        <a:pt x="23" y="82"/>
                        <a:pt x="23" y="82"/>
                        <a:pt x="23" y="82"/>
                      </a:cubicBezTo>
                      <a:cubicBezTo>
                        <a:pt x="23" y="81"/>
                        <a:pt x="23" y="81"/>
                        <a:pt x="23" y="81"/>
                      </a:cubicBezTo>
                      <a:cubicBezTo>
                        <a:pt x="23" y="81"/>
                        <a:pt x="23" y="81"/>
                        <a:pt x="23" y="81"/>
                      </a:cubicBezTo>
                      <a:cubicBezTo>
                        <a:pt x="23" y="81"/>
                        <a:pt x="23" y="81"/>
                        <a:pt x="23" y="81"/>
                      </a:cubicBezTo>
                      <a:cubicBezTo>
                        <a:pt x="23" y="81"/>
                        <a:pt x="23" y="81"/>
                        <a:pt x="23" y="81"/>
                      </a:cubicBezTo>
                      <a:cubicBezTo>
                        <a:pt x="23" y="81"/>
                        <a:pt x="23" y="81"/>
                        <a:pt x="23" y="81"/>
                      </a:cubicBezTo>
                      <a:cubicBezTo>
                        <a:pt x="22" y="81"/>
                        <a:pt x="22" y="81"/>
                        <a:pt x="22" y="81"/>
                      </a:cubicBezTo>
                      <a:cubicBezTo>
                        <a:pt x="22" y="81"/>
                        <a:pt x="22" y="81"/>
                        <a:pt x="22" y="81"/>
                      </a:cubicBezTo>
                      <a:cubicBezTo>
                        <a:pt x="22" y="81"/>
                        <a:pt x="22" y="81"/>
                        <a:pt x="22" y="81"/>
                      </a:cubicBezTo>
                      <a:cubicBezTo>
                        <a:pt x="22" y="81"/>
                        <a:pt x="22" y="81"/>
                        <a:pt x="22" y="81"/>
                      </a:cubicBezTo>
                      <a:cubicBezTo>
                        <a:pt x="22" y="81"/>
                        <a:pt x="22" y="81"/>
                        <a:pt x="22" y="81"/>
                      </a:cubicBezTo>
                      <a:cubicBezTo>
                        <a:pt x="22" y="81"/>
                        <a:pt x="22" y="81"/>
                        <a:pt x="22" y="81"/>
                      </a:cubicBezTo>
                      <a:cubicBezTo>
                        <a:pt x="22" y="81"/>
                        <a:pt x="22" y="81"/>
                        <a:pt x="22" y="81"/>
                      </a:cubicBezTo>
                      <a:cubicBezTo>
                        <a:pt x="22" y="81"/>
                        <a:pt x="22" y="81"/>
                        <a:pt x="22" y="81"/>
                      </a:cubicBezTo>
                      <a:cubicBezTo>
                        <a:pt x="21" y="81"/>
                        <a:pt x="21" y="81"/>
                        <a:pt x="21" y="81"/>
                      </a:cubicBezTo>
                      <a:cubicBezTo>
                        <a:pt x="21" y="81"/>
                        <a:pt x="21" y="81"/>
                        <a:pt x="21" y="81"/>
                      </a:cubicBezTo>
                      <a:cubicBezTo>
                        <a:pt x="5" y="81"/>
                        <a:pt x="5" y="81"/>
                        <a:pt x="5" y="81"/>
                      </a:cubicBezTo>
                      <a:cubicBezTo>
                        <a:pt x="5" y="75"/>
                        <a:pt x="5" y="75"/>
                        <a:pt x="5" y="75"/>
                      </a:cubicBezTo>
                      <a:lnTo>
                        <a:pt x="26" y="75"/>
                      </a:lnTo>
                      <a:close/>
                      <a:moveTo>
                        <a:pt x="5" y="102"/>
                      </a:moveTo>
                      <a:cubicBezTo>
                        <a:pt x="13" y="102"/>
                        <a:pt x="13" y="102"/>
                        <a:pt x="13" y="102"/>
                      </a:cubicBezTo>
                      <a:cubicBezTo>
                        <a:pt x="13" y="121"/>
                        <a:pt x="13" y="121"/>
                        <a:pt x="13" y="121"/>
                      </a:cubicBezTo>
                      <a:cubicBezTo>
                        <a:pt x="5" y="121"/>
                        <a:pt x="5" y="121"/>
                        <a:pt x="5" y="121"/>
                      </a:cubicBezTo>
                      <a:lnTo>
                        <a:pt x="5" y="102"/>
                      </a:lnTo>
                      <a:close/>
                      <a:moveTo>
                        <a:pt x="5" y="29"/>
                      </a:moveTo>
                      <a:cubicBezTo>
                        <a:pt x="16" y="29"/>
                        <a:pt x="16" y="29"/>
                        <a:pt x="16" y="29"/>
                      </a:cubicBezTo>
                      <a:cubicBezTo>
                        <a:pt x="16" y="38"/>
                        <a:pt x="16" y="38"/>
                        <a:pt x="16" y="38"/>
                      </a:cubicBezTo>
                      <a:cubicBezTo>
                        <a:pt x="5" y="38"/>
                        <a:pt x="5" y="38"/>
                        <a:pt x="5" y="38"/>
                      </a:cubicBezTo>
                      <a:lnTo>
                        <a:pt x="5" y="29"/>
                      </a:lnTo>
                      <a:close/>
                      <a:moveTo>
                        <a:pt x="5" y="132"/>
                      </a:moveTo>
                      <a:cubicBezTo>
                        <a:pt x="5" y="126"/>
                        <a:pt x="5" y="126"/>
                        <a:pt x="5" y="126"/>
                      </a:cubicBezTo>
                      <a:cubicBezTo>
                        <a:pt x="16" y="126"/>
                        <a:pt x="16" y="126"/>
                        <a:pt x="16" y="126"/>
                      </a:cubicBezTo>
                      <a:cubicBezTo>
                        <a:pt x="17" y="126"/>
                        <a:pt x="19" y="125"/>
                        <a:pt x="19" y="124"/>
                      </a:cubicBezTo>
                      <a:cubicBezTo>
                        <a:pt x="19" y="100"/>
                        <a:pt x="19" y="100"/>
                        <a:pt x="19" y="100"/>
                      </a:cubicBezTo>
                      <a:cubicBezTo>
                        <a:pt x="19" y="98"/>
                        <a:pt x="17" y="97"/>
                        <a:pt x="16" y="97"/>
                      </a:cubicBezTo>
                      <a:cubicBezTo>
                        <a:pt x="5" y="97"/>
                        <a:pt x="5" y="97"/>
                        <a:pt x="5" y="97"/>
                      </a:cubicBezTo>
                      <a:cubicBezTo>
                        <a:pt x="5" y="86"/>
                        <a:pt x="5" y="86"/>
                        <a:pt x="5" y="86"/>
                      </a:cubicBezTo>
                      <a:cubicBezTo>
                        <a:pt x="20" y="86"/>
                        <a:pt x="20" y="86"/>
                        <a:pt x="20" y="86"/>
                      </a:cubicBezTo>
                      <a:cubicBezTo>
                        <a:pt x="30" y="95"/>
                        <a:pt x="30" y="95"/>
                        <a:pt x="30" y="95"/>
                      </a:cubicBezTo>
                      <a:cubicBezTo>
                        <a:pt x="30" y="124"/>
                        <a:pt x="30" y="124"/>
                        <a:pt x="30" y="124"/>
                      </a:cubicBezTo>
                      <a:cubicBezTo>
                        <a:pt x="30" y="125"/>
                        <a:pt x="31" y="126"/>
                        <a:pt x="32" y="126"/>
                      </a:cubicBezTo>
                      <a:cubicBezTo>
                        <a:pt x="43" y="126"/>
                        <a:pt x="43" y="126"/>
                        <a:pt x="43" y="126"/>
                      </a:cubicBezTo>
                      <a:cubicBezTo>
                        <a:pt x="44" y="126"/>
                        <a:pt x="45" y="125"/>
                        <a:pt x="45" y="124"/>
                      </a:cubicBezTo>
                      <a:cubicBezTo>
                        <a:pt x="45" y="89"/>
                        <a:pt x="45" y="89"/>
                        <a:pt x="45" y="89"/>
                      </a:cubicBezTo>
                      <a:cubicBezTo>
                        <a:pt x="45" y="89"/>
                        <a:pt x="45" y="89"/>
                        <a:pt x="45" y="89"/>
                      </a:cubicBezTo>
                      <a:cubicBezTo>
                        <a:pt x="45" y="88"/>
                        <a:pt x="45" y="88"/>
                        <a:pt x="45" y="88"/>
                      </a:cubicBezTo>
                      <a:cubicBezTo>
                        <a:pt x="45" y="88"/>
                        <a:pt x="45" y="88"/>
                        <a:pt x="45" y="88"/>
                      </a:cubicBezTo>
                      <a:cubicBezTo>
                        <a:pt x="45" y="88"/>
                        <a:pt x="45" y="88"/>
                        <a:pt x="45" y="88"/>
                      </a:cubicBezTo>
                      <a:cubicBezTo>
                        <a:pt x="45" y="88"/>
                        <a:pt x="45" y="88"/>
                        <a:pt x="45" y="88"/>
                      </a:cubicBezTo>
                      <a:cubicBezTo>
                        <a:pt x="45" y="88"/>
                        <a:pt x="45" y="88"/>
                        <a:pt x="45" y="88"/>
                      </a:cubicBezTo>
                      <a:cubicBezTo>
                        <a:pt x="45" y="88"/>
                        <a:pt x="45" y="88"/>
                        <a:pt x="45" y="88"/>
                      </a:cubicBezTo>
                      <a:cubicBezTo>
                        <a:pt x="45" y="88"/>
                        <a:pt x="45" y="88"/>
                        <a:pt x="45" y="88"/>
                      </a:cubicBezTo>
                      <a:cubicBezTo>
                        <a:pt x="45" y="88"/>
                        <a:pt x="45" y="88"/>
                        <a:pt x="45" y="88"/>
                      </a:cubicBezTo>
                      <a:cubicBezTo>
                        <a:pt x="45" y="88"/>
                        <a:pt x="45" y="88"/>
                        <a:pt x="45" y="88"/>
                      </a:cubicBezTo>
                      <a:cubicBezTo>
                        <a:pt x="45" y="87"/>
                        <a:pt x="45" y="87"/>
                        <a:pt x="45" y="87"/>
                      </a:cubicBezTo>
                      <a:cubicBezTo>
                        <a:pt x="45" y="87"/>
                        <a:pt x="45" y="87"/>
                        <a:pt x="45" y="87"/>
                      </a:cubicBezTo>
                      <a:cubicBezTo>
                        <a:pt x="45" y="87"/>
                        <a:pt x="45" y="87"/>
                        <a:pt x="45" y="87"/>
                      </a:cubicBezTo>
                      <a:cubicBezTo>
                        <a:pt x="45" y="87"/>
                        <a:pt x="45" y="87"/>
                        <a:pt x="45" y="87"/>
                      </a:cubicBezTo>
                      <a:cubicBezTo>
                        <a:pt x="29" y="71"/>
                        <a:pt x="29" y="71"/>
                        <a:pt x="29" y="71"/>
                      </a:cubicBezTo>
                      <a:cubicBezTo>
                        <a:pt x="28" y="71"/>
                        <a:pt x="28" y="71"/>
                        <a:pt x="28" y="71"/>
                      </a:cubicBezTo>
                      <a:cubicBezTo>
                        <a:pt x="28" y="71"/>
                        <a:pt x="28" y="71"/>
                        <a:pt x="28" y="71"/>
                      </a:cubicBezTo>
                      <a:cubicBezTo>
                        <a:pt x="28" y="71"/>
                        <a:pt x="28" y="71"/>
                        <a:pt x="28" y="71"/>
                      </a:cubicBezTo>
                      <a:cubicBezTo>
                        <a:pt x="28" y="70"/>
                        <a:pt x="28" y="70"/>
                        <a:pt x="28" y="70"/>
                      </a:cubicBezTo>
                      <a:cubicBezTo>
                        <a:pt x="28" y="70"/>
                        <a:pt x="28" y="70"/>
                        <a:pt x="28" y="70"/>
                      </a:cubicBezTo>
                      <a:cubicBezTo>
                        <a:pt x="28" y="70"/>
                        <a:pt x="28" y="70"/>
                        <a:pt x="28" y="70"/>
                      </a:cubicBezTo>
                      <a:cubicBezTo>
                        <a:pt x="28" y="70"/>
                        <a:pt x="28" y="70"/>
                        <a:pt x="28" y="70"/>
                      </a:cubicBezTo>
                      <a:cubicBezTo>
                        <a:pt x="28" y="70"/>
                        <a:pt x="28" y="70"/>
                        <a:pt x="28" y="70"/>
                      </a:cubicBezTo>
                      <a:cubicBezTo>
                        <a:pt x="27" y="70"/>
                        <a:pt x="27" y="70"/>
                        <a:pt x="27" y="70"/>
                      </a:cubicBezTo>
                      <a:cubicBezTo>
                        <a:pt x="27" y="70"/>
                        <a:pt x="27" y="70"/>
                        <a:pt x="27" y="70"/>
                      </a:cubicBezTo>
                      <a:cubicBezTo>
                        <a:pt x="27" y="70"/>
                        <a:pt x="27" y="70"/>
                        <a:pt x="27" y="70"/>
                      </a:cubicBezTo>
                      <a:cubicBezTo>
                        <a:pt x="27" y="70"/>
                        <a:pt x="27" y="70"/>
                        <a:pt x="27" y="70"/>
                      </a:cubicBezTo>
                      <a:cubicBezTo>
                        <a:pt x="27" y="70"/>
                        <a:pt x="27" y="70"/>
                        <a:pt x="27" y="70"/>
                      </a:cubicBezTo>
                      <a:cubicBezTo>
                        <a:pt x="27" y="70"/>
                        <a:pt x="27" y="70"/>
                        <a:pt x="27" y="70"/>
                      </a:cubicBezTo>
                      <a:cubicBezTo>
                        <a:pt x="27" y="70"/>
                        <a:pt x="27" y="70"/>
                        <a:pt x="27" y="70"/>
                      </a:cubicBezTo>
                      <a:cubicBezTo>
                        <a:pt x="5" y="70"/>
                        <a:pt x="5" y="70"/>
                        <a:pt x="5" y="70"/>
                      </a:cubicBezTo>
                      <a:cubicBezTo>
                        <a:pt x="5" y="64"/>
                        <a:pt x="5" y="64"/>
                        <a:pt x="5" y="64"/>
                      </a:cubicBezTo>
                      <a:cubicBezTo>
                        <a:pt x="51" y="64"/>
                        <a:pt x="51" y="64"/>
                        <a:pt x="51" y="64"/>
                      </a:cubicBezTo>
                      <a:cubicBezTo>
                        <a:pt x="51" y="140"/>
                        <a:pt x="51" y="140"/>
                        <a:pt x="51" y="140"/>
                      </a:cubicBezTo>
                      <a:cubicBezTo>
                        <a:pt x="13" y="140"/>
                        <a:pt x="13" y="140"/>
                        <a:pt x="13" y="140"/>
                      </a:cubicBezTo>
                      <a:cubicBezTo>
                        <a:pt x="9" y="140"/>
                        <a:pt x="5" y="137"/>
                        <a:pt x="5" y="132"/>
                      </a:cubicBezTo>
                      <a:moveTo>
                        <a:pt x="67" y="140"/>
                      </a:moveTo>
                      <a:cubicBezTo>
                        <a:pt x="67" y="64"/>
                        <a:pt x="67" y="64"/>
                        <a:pt x="67" y="64"/>
                      </a:cubicBezTo>
                      <a:cubicBezTo>
                        <a:pt x="114" y="64"/>
                        <a:pt x="114" y="64"/>
                        <a:pt x="114" y="64"/>
                      </a:cubicBezTo>
                      <a:cubicBezTo>
                        <a:pt x="142" y="140"/>
                        <a:pt x="142" y="140"/>
                        <a:pt x="142" y="140"/>
                      </a:cubicBezTo>
                      <a:lnTo>
                        <a:pt x="67" y="140"/>
                      </a:lnTo>
                      <a:close/>
                      <a:moveTo>
                        <a:pt x="147" y="140"/>
                      </a:moveTo>
                      <a:cubicBezTo>
                        <a:pt x="118" y="61"/>
                        <a:pt x="118" y="61"/>
                        <a:pt x="118" y="61"/>
                      </a:cubicBezTo>
                      <a:cubicBezTo>
                        <a:pt x="118" y="60"/>
                        <a:pt x="117" y="59"/>
                        <a:pt x="116" y="59"/>
                      </a:cubicBezTo>
                      <a:cubicBezTo>
                        <a:pt x="65" y="59"/>
                        <a:pt x="65" y="59"/>
                        <a:pt x="65" y="59"/>
                      </a:cubicBezTo>
                      <a:cubicBezTo>
                        <a:pt x="63" y="59"/>
                        <a:pt x="62" y="60"/>
                        <a:pt x="62" y="62"/>
                      </a:cubicBezTo>
                      <a:cubicBezTo>
                        <a:pt x="62" y="140"/>
                        <a:pt x="62" y="140"/>
                        <a:pt x="62" y="140"/>
                      </a:cubicBezTo>
                      <a:cubicBezTo>
                        <a:pt x="56" y="140"/>
                        <a:pt x="56" y="140"/>
                        <a:pt x="56" y="140"/>
                      </a:cubicBezTo>
                      <a:cubicBezTo>
                        <a:pt x="56" y="62"/>
                        <a:pt x="56" y="62"/>
                        <a:pt x="56" y="62"/>
                      </a:cubicBezTo>
                      <a:cubicBezTo>
                        <a:pt x="56" y="61"/>
                        <a:pt x="56" y="61"/>
                        <a:pt x="56" y="60"/>
                      </a:cubicBezTo>
                      <a:cubicBezTo>
                        <a:pt x="55" y="60"/>
                        <a:pt x="54" y="59"/>
                        <a:pt x="54" y="59"/>
                      </a:cubicBezTo>
                      <a:cubicBezTo>
                        <a:pt x="5" y="59"/>
                        <a:pt x="5" y="59"/>
                        <a:pt x="5" y="59"/>
                      </a:cubicBezTo>
                      <a:cubicBezTo>
                        <a:pt x="5" y="54"/>
                        <a:pt x="5" y="54"/>
                        <a:pt x="5" y="54"/>
                      </a:cubicBezTo>
                      <a:cubicBezTo>
                        <a:pt x="54" y="54"/>
                        <a:pt x="54" y="54"/>
                        <a:pt x="54" y="54"/>
                      </a:cubicBezTo>
                      <a:cubicBezTo>
                        <a:pt x="55" y="54"/>
                        <a:pt x="56" y="52"/>
                        <a:pt x="56" y="51"/>
                      </a:cubicBezTo>
                      <a:cubicBezTo>
                        <a:pt x="56" y="5"/>
                        <a:pt x="56" y="5"/>
                        <a:pt x="56" y="5"/>
                      </a:cubicBezTo>
                      <a:cubicBezTo>
                        <a:pt x="62" y="5"/>
                        <a:pt x="62" y="5"/>
                        <a:pt x="62" y="5"/>
                      </a:cubicBezTo>
                      <a:cubicBezTo>
                        <a:pt x="62" y="51"/>
                        <a:pt x="62" y="51"/>
                        <a:pt x="62" y="51"/>
                      </a:cubicBezTo>
                      <a:cubicBezTo>
                        <a:pt x="62" y="52"/>
                        <a:pt x="62" y="52"/>
                        <a:pt x="63" y="53"/>
                      </a:cubicBezTo>
                      <a:cubicBezTo>
                        <a:pt x="63" y="53"/>
                        <a:pt x="64" y="54"/>
                        <a:pt x="65" y="54"/>
                      </a:cubicBezTo>
                      <a:cubicBezTo>
                        <a:pt x="167" y="54"/>
                        <a:pt x="167" y="54"/>
                        <a:pt x="167" y="54"/>
                      </a:cubicBezTo>
                      <a:cubicBezTo>
                        <a:pt x="167" y="59"/>
                        <a:pt x="167" y="59"/>
                        <a:pt x="167" y="59"/>
                      </a:cubicBezTo>
                      <a:cubicBezTo>
                        <a:pt x="127" y="59"/>
                        <a:pt x="127" y="59"/>
                        <a:pt x="127" y="59"/>
                      </a:cubicBezTo>
                      <a:cubicBezTo>
                        <a:pt x="126" y="59"/>
                        <a:pt x="125" y="60"/>
                        <a:pt x="124" y="60"/>
                      </a:cubicBezTo>
                      <a:cubicBezTo>
                        <a:pt x="124" y="61"/>
                        <a:pt x="124" y="62"/>
                        <a:pt x="124" y="63"/>
                      </a:cubicBezTo>
                      <a:cubicBezTo>
                        <a:pt x="153" y="140"/>
                        <a:pt x="153" y="140"/>
                        <a:pt x="153" y="140"/>
                      </a:cubicBezTo>
                      <a:lnTo>
                        <a:pt x="147" y="140"/>
                      </a:lnTo>
                      <a:close/>
                      <a:moveTo>
                        <a:pt x="159" y="140"/>
                      </a:moveTo>
                      <a:cubicBezTo>
                        <a:pt x="158" y="140"/>
                        <a:pt x="158" y="140"/>
                        <a:pt x="158" y="140"/>
                      </a:cubicBezTo>
                      <a:cubicBezTo>
                        <a:pt x="130" y="64"/>
                        <a:pt x="130" y="64"/>
                        <a:pt x="130" y="64"/>
                      </a:cubicBezTo>
                      <a:cubicBezTo>
                        <a:pt x="167" y="64"/>
                        <a:pt x="167" y="64"/>
                        <a:pt x="167" y="64"/>
                      </a:cubicBezTo>
                      <a:cubicBezTo>
                        <a:pt x="167" y="70"/>
                        <a:pt x="167" y="70"/>
                        <a:pt x="167" y="70"/>
                      </a:cubicBezTo>
                      <a:cubicBezTo>
                        <a:pt x="145" y="70"/>
                        <a:pt x="145" y="70"/>
                        <a:pt x="145" y="70"/>
                      </a:cubicBezTo>
                      <a:cubicBezTo>
                        <a:pt x="144" y="70"/>
                        <a:pt x="143" y="71"/>
                        <a:pt x="143" y="73"/>
                      </a:cubicBezTo>
                      <a:cubicBezTo>
                        <a:pt x="143" y="83"/>
                        <a:pt x="143" y="83"/>
                        <a:pt x="143" y="83"/>
                      </a:cubicBezTo>
                      <a:cubicBezTo>
                        <a:pt x="143" y="85"/>
                        <a:pt x="144" y="86"/>
                        <a:pt x="145" y="86"/>
                      </a:cubicBezTo>
                      <a:cubicBezTo>
                        <a:pt x="167" y="86"/>
                        <a:pt x="167" y="86"/>
                        <a:pt x="167" y="86"/>
                      </a:cubicBezTo>
                      <a:cubicBezTo>
                        <a:pt x="167" y="132"/>
                        <a:pt x="167" y="132"/>
                        <a:pt x="167" y="132"/>
                      </a:cubicBezTo>
                      <a:cubicBezTo>
                        <a:pt x="167" y="137"/>
                        <a:pt x="163" y="140"/>
                        <a:pt x="159" y="1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47" name="Freeform 63"/>
                <p:cNvSpPr>
                  <a:spLocks noEditPoints="1"/>
                </p:cNvSpPr>
                <p:nvPr/>
              </p:nvSpPr>
              <p:spPr bwMode="auto">
                <a:xfrm>
                  <a:off x="2584450" y="87312"/>
                  <a:ext cx="127000" cy="101600"/>
                </a:xfrm>
                <a:custGeom>
                  <a:avLst/>
                  <a:gdLst>
                    <a:gd name="T0" fmla="*/ 40 w 40"/>
                    <a:gd name="T1" fmla="*/ 13 h 32"/>
                    <a:gd name="T2" fmla="*/ 40 w 40"/>
                    <a:gd name="T3" fmla="*/ 3 h 32"/>
                    <a:gd name="T4" fmla="*/ 37 w 40"/>
                    <a:gd name="T5" fmla="*/ 0 h 32"/>
                    <a:gd name="T6" fmla="*/ 10 w 40"/>
                    <a:gd name="T7" fmla="*/ 0 h 32"/>
                    <a:gd name="T8" fmla="*/ 0 w 40"/>
                    <a:gd name="T9" fmla="*/ 11 h 32"/>
                    <a:gd name="T10" fmla="*/ 0 w 40"/>
                    <a:gd name="T11" fmla="*/ 30 h 32"/>
                    <a:gd name="T12" fmla="*/ 2 w 40"/>
                    <a:gd name="T13" fmla="*/ 32 h 32"/>
                    <a:gd name="T14" fmla="*/ 13 w 40"/>
                    <a:gd name="T15" fmla="*/ 32 h 32"/>
                    <a:gd name="T16" fmla="*/ 16 w 40"/>
                    <a:gd name="T17" fmla="*/ 30 h 32"/>
                    <a:gd name="T18" fmla="*/ 16 w 40"/>
                    <a:gd name="T19" fmla="*/ 16 h 32"/>
                    <a:gd name="T20" fmla="*/ 37 w 40"/>
                    <a:gd name="T21" fmla="*/ 16 h 32"/>
                    <a:gd name="T22" fmla="*/ 40 w 40"/>
                    <a:gd name="T23" fmla="*/ 13 h 32"/>
                    <a:gd name="T24" fmla="*/ 35 w 40"/>
                    <a:gd name="T25" fmla="*/ 11 h 32"/>
                    <a:gd name="T26" fmla="*/ 13 w 40"/>
                    <a:gd name="T27" fmla="*/ 11 h 32"/>
                    <a:gd name="T28" fmla="*/ 11 w 40"/>
                    <a:gd name="T29" fmla="*/ 13 h 32"/>
                    <a:gd name="T30" fmla="*/ 11 w 40"/>
                    <a:gd name="T31" fmla="*/ 27 h 32"/>
                    <a:gd name="T32" fmla="*/ 5 w 40"/>
                    <a:gd name="T33" fmla="*/ 27 h 32"/>
                    <a:gd name="T34" fmla="*/ 5 w 40"/>
                    <a:gd name="T35" fmla="*/ 11 h 32"/>
                    <a:gd name="T36" fmla="*/ 10 w 40"/>
                    <a:gd name="T37" fmla="*/ 5 h 32"/>
                    <a:gd name="T38" fmla="*/ 35 w 40"/>
                    <a:gd name="T39" fmla="*/ 5 h 32"/>
                    <a:gd name="T40" fmla="*/ 35 w 40"/>
                    <a:gd name="T41"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32">
                      <a:moveTo>
                        <a:pt x="40" y="13"/>
                      </a:moveTo>
                      <a:cubicBezTo>
                        <a:pt x="40" y="3"/>
                        <a:pt x="40" y="3"/>
                        <a:pt x="40" y="3"/>
                      </a:cubicBezTo>
                      <a:cubicBezTo>
                        <a:pt x="40" y="1"/>
                        <a:pt x="39" y="0"/>
                        <a:pt x="37" y="0"/>
                      </a:cubicBezTo>
                      <a:cubicBezTo>
                        <a:pt x="10" y="0"/>
                        <a:pt x="10" y="0"/>
                        <a:pt x="10" y="0"/>
                      </a:cubicBezTo>
                      <a:cubicBezTo>
                        <a:pt x="5" y="0"/>
                        <a:pt x="0" y="5"/>
                        <a:pt x="0" y="11"/>
                      </a:cubicBezTo>
                      <a:cubicBezTo>
                        <a:pt x="0" y="30"/>
                        <a:pt x="0" y="30"/>
                        <a:pt x="0" y="30"/>
                      </a:cubicBezTo>
                      <a:cubicBezTo>
                        <a:pt x="0" y="31"/>
                        <a:pt x="1" y="32"/>
                        <a:pt x="2" y="32"/>
                      </a:cubicBezTo>
                      <a:cubicBezTo>
                        <a:pt x="13" y="32"/>
                        <a:pt x="13" y="32"/>
                        <a:pt x="13" y="32"/>
                      </a:cubicBezTo>
                      <a:cubicBezTo>
                        <a:pt x="14" y="32"/>
                        <a:pt x="16" y="31"/>
                        <a:pt x="16" y="30"/>
                      </a:cubicBezTo>
                      <a:cubicBezTo>
                        <a:pt x="16" y="16"/>
                        <a:pt x="16" y="16"/>
                        <a:pt x="16" y="16"/>
                      </a:cubicBezTo>
                      <a:cubicBezTo>
                        <a:pt x="37" y="16"/>
                        <a:pt x="37" y="16"/>
                        <a:pt x="37" y="16"/>
                      </a:cubicBezTo>
                      <a:cubicBezTo>
                        <a:pt x="39" y="16"/>
                        <a:pt x="40" y="15"/>
                        <a:pt x="40" y="13"/>
                      </a:cubicBezTo>
                      <a:moveTo>
                        <a:pt x="35" y="11"/>
                      </a:moveTo>
                      <a:cubicBezTo>
                        <a:pt x="13" y="11"/>
                        <a:pt x="13" y="11"/>
                        <a:pt x="13" y="11"/>
                      </a:cubicBezTo>
                      <a:cubicBezTo>
                        <a:pt x="12" y="11"/>
                        <a:pt x="11" y="12"/>
                        <a:pt x="11" y="13"/>
                      </a:cubicBezTo>
                      <a:cubicBezTo>
                        <a:pt x="11" y="27"/>
                        <a:pt x="11" y="27"/>
                        <a:pt x="11" y="27"/>
                      </a:cubicBezTo>
                      <a:cubicBezTo>
                        <a:pt x="5" y="27"/>
                        <a:pt x="5" y="27"/>
                        <a:pt x="5" y="27"/>
                      </a:cubicBezTo>
                      <a:cubicBezTo>
                        <a:pt x="5" y="11"/>
                        <a:pt x="5" y="11"/>
                        <a:pt x="5" y="11"/>
                      </a:cubicBezTo>
                      <a:cubicBezTo>
                        <a:pt x="5" y="8"/>
                        <a:pt x="7" y="5"/>
                        <a:pt x="10" y="5"/>
                      </a:cubicBezTo>
                      <a:cubicBezTo>
                        <a:pt x="35" y="5"/>
                        <a:pt x="35" y="5"/>
                        <a:pt x="35" y="5"/>
                      </a:cubicBezTo>
                      <a:lnTo>
                        <a:pt x="35" y="11"/>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48" name="Freeform 64"/>
                <p:cNvSpPr>
                  <a:spLocks noEditPoints="1"/>
                </p:cNvSpPr>
                <p:nvPr/>
              </p:nvSpPr>
              <p:spPr bwMode="auto">
                <a:xfrm>
                  <a:off x="2584450" y="207962"/>
                  <a:ext cx="50800" cy="82550"/>
                </a:xfrm>
                <a:custGeom>
                  <a:avLst/>
                  <a:gdLst>
                    <a:gd name="T0" fmla="*/ 13 w 16"/>
                    <a:gd name="T1" fmla="*/ 0 h 26"/>
                    <a:gd name="T2" fmla="*/ 2 w 16"/>
                    <a:gd name="T3" fmla="*/ 0 h 26"/>
                    <a:gd name="T4" fmla="*/ 0 w 16"/>
                    <a:gd name="T5" fmla="*/ 2 h 26"/>
                    <a:gd name="T6" fmla="*/ 0 w 16"/>
                    <a:gd name="T7" fmla="*/ 24 h 26"/>
                    <a:gd name="T8" fmla="*/ 2 w 16"/>
                    <a:gd name="T9" fmla="*/ 26 h 26"/>
                    <a:gd name="T10" fmla="*/ 13 w 16"/>
                    <a:gd name="T11" fmla="*/ 26 h 26"/>
                    <a:gd name="T12" fmla="*/ 16 w 16"/>
                    <a:gd name="T13" fmla="*/ 24 h 26"/>
                    <a:gd name="T14" fmla="*/ 16 w 16"/>
                    <a:gd name="T15" fmla="*/ 2 h 26"/>
                    <a:gd name="T16" fmla="*/ 13 w 16"/>
                    <a:gd name="T17" fmla="*/ 0 h 26"/>
                    <a:gd name="T18" fmla="*/ 11 w 16"/>
                    <a:gd name="T19" fmla="*/ 21 h 26"/>
                    <a:gd name="T20" fmla="*/ 5 w 16"/>
                    <a:gd name="T21" fmla="*/ 21 h 26"/>
                    <a:gd name="T22" fmla="*/ 5 w 16"/>
                    <a:gd name="T23" fmla="*/ 5 h 26"/>
                    <a:gd name="T24" fmla="*/ 11 w 16"/>
                    <a:gd name="T25" fmla="*/ 5 h 26"/>
                    <a:gd name="T26" fmla="*/ 11 w 16"/>
                    <a:gd name="T27"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6">
                      <a:moveTo>
                        <a:pt x="13" y="0"/>
                      </a:moveTo>
                      <a:cubicBezTo>
                        <a:pt x="2" y="0"/>
                        <a:pt x="2" y="0"/>
                        <a:pt x="2" y="0"/>
                      </a:cubicBezTo>
                      <a:cubicBezTo>
                        <a:pt x="1" y="0"/>
                        <a:pt x="0" y="1"/>
                        <a:pt x="0" y="2"/>
                      </a:cubicBezTo>
                      <a:cubicBezTo>
                        <a:pt x="0" y="24"/>
                        <a:pt x="0" y="24"/>
                        <a:pt x="0" y="24"/>
                      </a:cubicBezTo>
                      <a:cubicBezTo>
                        <a:pt x="0" y="25"/>
                        <a:pt x="1" y="26"/>
                        <a:pt x="2" y="26"/>
                      </a:cubicBezTo>
                      <a:cubicBezTo>
                        <a:pt x="13" y="26"/>
                        <a:pt x="13" y="26"/>
                        <a:pt x="13" y="26"/>
                      </a:cubicBezTo>
                      <a:cubicBezTo>
                        <a:pt x="14" y="26"/>
                        <a:pt x="16" y="25"/>
                        <a:pt x="16" y="24"/>
                      </a:cubicBezTo>
                      <a:cubicBezTo>
                        <a:pt x="16" y="2"/>
                        <a:pt x="16" y="2"/>
                        <a:pt x="16" y="2"/>
                      </a:cubicBezTo>
                      <a:cubicBezTo>
                        <a:pt x="16" y="1"/>
                        <a:pt x="14" y="0"/>
                        <a:pt x="13" y="0"/>
                      </a:cubicBezTo>
                      <a:moveTo>
                        <a:pt x="11" y="21"/>
                      </a:moveTo>
                      <a:cubicBezTo>
                        <a:pt x="5" y="21"/>
                        <a:pt x="5" y="21"/>
                        <a:pt x="5" y="21"/>
                      </a:cubicBezTo>
                      <a:cubicBezTo>
                        <a:pt x="5" y="5"/>
                        <a:pt x="5" y="5"/>
                        <a:pt x="5" y="5"/>
                      </a:cubicBezTo>
                      <a:cubicBezTo>
                        <a:pt x="11" y="5"/>
                        <a:pt x="11" y="5"/>
                        <a:pt x="11" y="5"/>
                      </a:cubicBezTo>
                      <a:lnTo>
                        <a:pt x="11"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49" name="Freeform 65"/>
                <p:cNvSpPr>
                  <a:spLocks noEditPoints="1"/>
                </p:cNvSpPr>
                <p:nvPr/>
              </p:nvSpPr>
              <p:spPr bwMode="auto">
                <a:xfrm>
                  <a:off x="2584450" y="-84138"/>
                  <a:ext cx="161925" cy="85725"/>
                </a:xfrm>
                <a:custGeom>
                  <a:avLst/>
                  <a:gdLst>
                    <a:gd name="T0" fmla="*/ 48 w 51"/>
                    <a:gd name="T1" fmla="*/ 11 h 27"/>
                    <a:gd name="T2" fmla="*/ 16 w 51"/>
                    <a:gd name="T3" fmla="*/ 11 h 27"/>
                    <a:gd name="T4" fmla="*/ 16 w 51"/>
                    <a:gd name="T5" fmla="*/ 3 h 27"/>
                    <a:gd name="T6" fmla="*/ 13 w 51"/>
                    <a:gd name="T7" fmla="*/ 0 h 27"/>
                    <a:gd name="T8" fmla="*/ 2 w 51"/>
                    <a:gd name="T9" fmla="*/ 0 h 27"/>
                    <a:gd name="T10" fmla="*/ 0 w 51"/>
                    <a:gd name="T11" fmla="*/ 3 h 27"/>
                    <a:gd name="T12" fmla="*/ 0 w 51"/>
                    <a:gd name="T13" fmla="*/ 16 h 27"/>
                    <a:gd name="T14" fmla="*/ 10 w 51"/>
                    <a:gd name="T15" fmla="*/ 27 h 27"/>
                    <a:gd name="T16" fmla="*/ 48 w 51"/>
                    <a:gd name="T17" fmla="*/ 27 h 27"/>
                    <a:gd name="T18" fmla="*/ 51 w 51"/>
                    <a:gd name="T19" fmla="*/ 24 h 27"/>
                    <a:gd name="T20" fmla="*/ 51 w 51"/>
                    <a:gd name="T21" fmla="*/ 13 h 27"/>
                    <a:gd name="T22" fmla="*/ 48 w 51"/>
                    <a:gd name="T23" fmla="*/ 11 h 27"/>
                    <a:gd name="T24" fmla="*/ 46 w 51"/>
                    <a:gd name="T25" fmla="*/ 22 h 27"/>
                    <a:gd name="T26" fmla="*/ 10 w 51"/>
                    <a:gd name="T27" fmla="*/ 22 h 27"/>
                    <a:gd name="T28" fmla="*/ 5 w 51"/>
                    <a:gd name="T29" fmla="*/ 16 h 27"/>
                    <a:gd name="T30" fmla="*/ 5 w 51"/>
                    <a:gd name="T31" fmla="*/ 5 h 27"/>
                    <a:gd name="T32" fmla="*/ 11 w 51"/>
                    <a:gd name="T33" fmla="*/ 5 h 27"/>
                    <a:gd name="T34" fmla="*/ 11 w 51"/>
                    <a:gd name="T35" fmla="*/ 13 h 27"/>
                    <a:gd name="T36" fmla="*/ 13 w 51"/>
                    <a:gd name="T37" fmla="*/ 16 h 27"/>
                    <a:gd name="T38" fmla="*/ 46 w 51"/>
                    <a:gd name="T39" fmla="*/ 16 h 27"/>
                    <a:gd name="T40" fmla="*/ 46 w 51"/>
                    <a:gd name="T41"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27">
                      <a:moveTo>
                        <a:pt x="48" y="11"/>
                      </a:moveTo>
                      <a:cubicBezTo>
                        <a:pt x="16" y="11"/>
                        <a:pt x="16" y="11"/>
                        <a:pt x="16" y="11"/>
                      </a:cubicBezTo>
                      <a:cubicBezTo>
                        <a:pt x="16" y="3"/>
                        <a:pt x="16" y="3"/>
                        <a:pt x="16" y="3"/>
                      </a:cubicBezTo>
                      <a:cubicBezTo>
                        <a:pt x="16" y="1"/>
                        <a:pt x="14" y="0"/>
                        <a:pt x="13" y="0"/>
                      </a:cubicBezTo>
                      <a:cubicBezTo>
                        <a:pt x="2" y="0"/>
                        <a:pt x="2" y="0"/>
                        <a:pt x="2" y="0"/>
                      </a:cubicBezTo>
                      <a:cubicBezTo>
                        <a:pt x="1" y="0"/>
                        <a:pt x="0" y="1"/>
                        <a:pt x="0" y="3"/>
                      </a:cubicBezTo>
                      <a:cubicBezTo>
                        <a:pt x="0" y="16"/>
                        <a:pt x="0" y="16"/>
                        <a:pt x="0" y="16"/>
                      </a:cubicBezTo>
                      <a:cubicBezTo>
                        <a:pt x="0" y="22"/>
                        <a:pt x="5" y="27"/>
                        <a:pt x="10" y="27"/>
                      </a:cubicBezTo>
                      <a:cubicBezTo>
                        <a:pt x="48" y="27"/>
                        <a:pt x="48" y="27"/>
                        <a:pt x="48" y="27"/>
                      </a:cubicBezTo>
                      <a:cubicBezTo>
                        <a:pt x="50" y="27"/>
                        <a:pt x="51" y="26"/>
                        <a:pt x="51" y="24"/>
                      </a:cubicBezTo>
                      <a:cubicBezTo>
                        <a:pt x="51" y="13"/>
                        <a:pt x="51" y="13"/>
                        <a:pt x="51" y="13"/>
                      </a:cubicBezTo>
                      <a:cubicBezTo>
                        <a:pt x="51" y="12"/>
                        <a:pt x="50" y="11"/>
                        <a:pt x="48" y="11"/>
                      </a:cubicBezTo>
                      <a:moveTo>
                        <a:pt x="46" y="22"/>
                      </a:moveTo>
                      <a:cubicBezTo>
                        <a:pt x="10" y="22"/>
                        <a:pt x="10" y="22"/>
                        <a:pt x="10" y="22"/>
                      </a:cubicBezTo>
                      <a:cubicBezTo>
                        <a:pt x="7" y="22"/>
                        <a:pt x="5" y="19"/>
                        <a:pt x="5" y="16"/>
                      </a:cubicBezTo>
                      <a:cubicBezTo>
                        <a:pt x="5" y="5"/>
                        <a:pt x="5" y="5"/>
                        <a:pt x="5" y="5"/>
                      </a:cubicBezTo>
                      <a:cubicBezTo>
                        <a:pt x="11" y="5"/>
                        <a:pt x="11" y="5"/>
                        <a:pt x="11" y="5"/>
                      </a:cubicBezTo>
                      <a:cubicBezTo>
                        <a:pt x="11" y="13"/>
                        <a:pt x="11" y="13"/>
                        <a:pt x="11" y="13"/>
                      </a:cubicBezTo>
                      <a:cubicBezTo>
                        <a:pt x="11" y="15"/>
                        <a:pt x="12" y="16"/>
                        <a:pt x="13" y="16"/>
                      </a:cubicBezTo>
                      <a:cubicBezTo>
                        <a:pt x="46" y="16"/>
                        <a:pt x="46" y="16"/>
                        <a:pt x="46" y="16"/>
                      </a:cubicBezTo>
                      <a:lnTo>
                        <a:pt x="46" y="22"/>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50" name="Freeform 66"/>
                <p:cNvSpPr>
                  <a:spLocks noEditPoints="1"/>
                </p:cNvSpPr>
                <p:nvPr/>
              </p:nvSpPr>
              <p:spPr bwMode="auto">
                <a:xfrm>
                  <a:off x="2670175" y="188912"/>
                  <a:ext cx="66675" cy="101600"/>
                </a:xfrm>
                <a:custGeom>
                  <a:avLst/>
                  <a:gdLst>
                    <a:gd name="T0" fmla="*/ 0 w 21"/>
                    <a:gd name="T1" fmla="*/ 3 h 32"/>
                    <a:gd name="T2" fmla="*/ 0 w 21"/>
                    <a:gd name="T3" fmla="*/ 29 h 32"/>
                    <a:gd name="T4" fmla="*/ 3 w 21"/>
                    <a:gd name="T5" fmla="*/ 32 h 32"/>
                    <a:gd name="T6" fmla="*/ 18 w 21"/>
                    <a:gd name="T7" fmla="*/ 32 h 32"/>
                    <a:gd name="T8" fmla="*/ 21 w 21"/>
                    <a:gd name="T9" fmla="*/ 30 h 32"/>
                    <a:gd name="T10" fmla="*/ 21 w 21"/>
                    <a:gd name="T11" fmla="*/ 4 h 32"/>
                    <a:gd name="T12" fmla="*/ 18 w 21"/>
                    <a:gd name="T13" fmla="*/ 0 h 32"/>
                    <a:gd name="T14" fmla="*/ 2 w 21"/>
                    <a:gd name="T15" fmla="*/ 0 h 32"/>
                    <a:gd name="T16" fmla="*/ 0 w 21"/>
                    <a:gd name="T17" fmla="*/ 3 h 32"/>
                    <a:gd name="T18" fmla="*/ 5 w 21"/>
                    <a:gd name="T19" fmla="*/ 6 h 32"/>
                    <a:gd name="T20" fmla="*/ 16 w 21"/>
                    <a:gd name="T21" fmla="*/ 6 h 32"/>
                    <a:gd name="T22" fmla="*/ 16 w 21"/>
                    <a:gd name="T23" fmla="*/ 27 h 32"/>
                    <a:gd name="T24" fmla="*/ 5 w 21"/>
                    <a:gd name="T25" fmla="*/ 27 h 32"/>
                    <a:gd name="T26" fmla="*/ 5 w 21"/>
                    <a:gd name="T27"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32">
                      <a:moveTo>
                        <a:pt x="0" y="3"/>
                      </a:moveTo>
                      <a:cubicBezTo>
                        <a:pt x="0" y="29"/>
                        <a:pt x="0" y="29"/>
                        <a:pt x="0" y="29"/>
                      </a:cubicBezTo>
                      <a:cubicBezTo>
                        <a:pt x="0" y="31"/>
                        <a:pt x="1" y="32"/>
                        <a:pt x="3" y="32"/>
                      </a:cubicBezTo>
                      <a:cubicBezTo>
                        <a:pt x="18" y="32"/>
                        <a:pt x="18" y="32"/>
                        <a:pt x="18" y="32"/>
                      </a:cubicBezTo>
                      <a:cubicBezTo>
                        <a:pt x="20" y="32"/>
                        <a:pt x="21" y="31"/>
                        <a:pt x="21" y="30"/>
                      </a:cubicBezTo>
                      <a:cubicBezTo>
                        <a:pt x="21" y="4"/>
                        <a:pt x="21" y="4"/>
                        <a:pt x="21" y="4"/>
                      </a:cubicBezTo>
                      <a:cubicBezTo>
                        <a:pt x="21" y="2"/>
                        <a:pt x="20" y="0"/>
                        <a:pt x="18" y="0"/>
                      </a:cubicBezTo>
                      <a:cubicBezTo>
                        <a:pt x="2" y="0"/>
                        <a:pt x="2" y="0"/>
                        <a:pt x="2" y="0"/>
                      </a:cubicBezTo>
                      <a:cubicBezTo>
                        <a:pt x="1" y="0"/>
                        <a:pt x="0" y="2"/>
                        <a:pt x="0" y="3"/>
                      </a:cubicBezTo>
                      <a:moveTo>
                        <a:pt x="5" y="6"/>
                      </a:moveTo>
                      <a:cubicBezTo>
                        <a:pt x="16" y="6"/>
                        <a:pt x="16" y="6"/>
                        <a:pt x="16" y="6"/>
                      </a:cubicBezTo>
                      <a:cubicBezTo>
                        <a:pt x="16" y="27"/>
                        <a:pt x="16" y="27"/>
                        <a:pt x="16" y="27"/>
                      </a:cubicBezTo>
                      <a:cubicBezTo>
                        <a:pt x="5" y="27"/>
                        <a:pt x="5" y="27"/>
                        <a:pt x="5" y="27"/>
                      </a:cubicBezTo>
                      <a:lnTo>
                        <a:pt x="5"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51" name="Freeform 67"/>
                <p:cNvSpPr>
                  <a:spLocks noEditPoints="1"/>
                </p:cNvSpPr>
                <p:nvPr/>
              </p:nvSpPr>
              <p:spPr bwMode="auto">
                <a:xfrm>
                  <a:off x="2438400" y="-58738"/>
                  <a:ext cx="57150" cy="60325"/>
                </a:xfrm>
                <a:custGeom>
                  <a:avLst/>
                  <a:gdLst>
                    <a:gd name="T0" fmla="*/ 2 w 18"/>
                    <a:gd name="T1" fmla="*/ 19 h 19"/>
                    <a:gd name="T2" fmla="*/ 16 w 18"/>
                    <a:gd name="T3" fmla="*/ 19 h 19"/>
                    <a:gd name="T4" fmla="*/ 18 w 18"/>
                    <a:gd name="T5" fmla="*/ 16 h 19"/>
                    <a:gd name="T6" fmla="*/ 18 w 18"/>
                    <a:gd name="T7" fmla="*/ 3 h 19"/>
                    <a:gd name="T8" fmla="*/ 16 w 18"/>
                    <a:gd name="T9" fmla="*/ 0 h 19"/>
                    <a:gd name="T10" fmla="*/ 2 w 18"/>
                    <a:gd name="T11" fmla="*/ 0 h 19"/>
                    <a:gd name="T12" fmla="*/ 0 w 18"/>
                    <a:gd name="T13" fmla="*/ 3 h 19"/>
                    <a:gd name="T14" fmla="*/ 0 w 18"/>
                    <a:gd name="T15" fmla="*/ 16 h 19"/>
                    <a:gd name="T16" fmla="*/ 2 w 18"/>
                    <a:gd name="T17" fmla="*/ 19 h 19"/>
                    <a:gd name="T18" fmla="*/ 5 w 18"/>
                    <a:gd name="T19" fmla="*/ 5 h 19"/>
                    <a:gd name="T20" fmla="*/ 13 w 18"/>
                    <a:gd name="T21" fmla="*/ 5 h 19"/>
                    <a:gd name="T22" fmla="*/ 13 w 18"/>
                    <a:gd name="T23" fmla="*/ 14 h 19"/>
                    <a:gd name="T24" fmla="*/ 5 w 18"/>
                    <a:gd name="T25" fmla="*/ 14 h 19"/>
                    <a:gd name="T26" fmla="*/ 5 w 18"/>
                    <a:gd name="T27"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9">
                      <a:moveTo>
                        <a:pt x="2" y="19"/>
                      </a:moveTo>
                      <a:cubicBezTo>
                        <a:pt x="16" y="19"/>
                        <a:pt x="16" y="19"/>
                        <a:pt x="16" y="19"/>
                      </a:cubicBezTo>
                      <a:cubicBezTo>
                        <a:pt x="17" y="19"/>
                        <a:pt x="18" y="18"/>
                        <a:pt x="18" y="16"/>
                      </a:cubicBezTo>
                      <a:cubicBezTo>
                        <a:pt x="18" y="3"/>
                        <a:pt x="18" y="3"/>
                        <a:pt x="18" y="3"/>
                      </a:cubicBezTo>
                      <a:cubicBezTo>
                        <a:pt x="18" y="1"/>
                        <a:pt x="17" y="0"/>
                        <a:pt x="16" y="0"/>
                      </a:cubicBezTo>
                      <a:cubicBezTo>
                        <a:pt x="2" y="0"/>
                        <a:pt x="2" y="0"/>
                        <a:pt x="2" y="0"/>
                      </a:cubicBezTo>
                      <a:cubicBezTo>
                        <a:pt x="1" y="0"/>
                        <a:pt x="0" y="1"/>
                        <a:pt x="0" y="3"/>
                      </a:cubicBezTo>
                      <a:cubicBezTo>
                        <a:pt x="0" y="16"/>
                        <a:pt x="0" y="16"/>
                        <a:pt x="0" y="16"/>
                      </a:cubicBezTo>
                      <a:cubicBezTo>
                        <a:pt x="0" y="18"/>
                        <a:pt x="1" y="19"/>
                        <a:pt x="2" y="19"/>
                      </a:cubicBezTo>
                      <a:moveTo>
                        <a:pt x="5" y="5"/>
                      </a:moveTo>
                      <a:cubicBezTo>
                        <a:pt x="13" y="5"/>
                        <a:pt x="13" y="5"/>
                        <a:pt x="13" y="5"/>
                      </a:cubicBezTo>
                      <a:cubicBezTo>
                        <a:pt x="13" y="14"/>
                        <a:pt x="13" y="14"/>
                        <a:pt x="13" y="14"/>
                      </a:cubicBezTo>
                      <a:cubicBezTo>
                        <a:pt x="5" y="14"/>
                        <a:pt x="5" y="14"/>
                        <a:pt x="5" y="14"/>
                      </a:cubicBezTo>
                      <a:lnTo>
                        <a:pt x="5" y="5"/>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grpSp>
          <p:sp>
            <p:nvSpPr>
              <p:cNvPr id="573" name="Rounded Rectangle 572"/>
              <p:cNvSpPr/>
              <p:nvPr/>
            </p:nvSpPr>
            <p:spPr bwMode="auto">
              <a:xfrm>
                <a:off x="324631" y="2707921"/>
                <a:ext cx="751133" cy="751133"/>
              </a:xfrm>
              <a:prstGeom prst="roundRect">
                <a:avLst>
                  <a:gd name="adj" fmla="val 9693"/>
                </a:avLst>
              </a:prstGeom>
              <a:solidFill>
                <a:srgbClr val="666666"/>
              </a:solidFill>
              <a:ln w="12700" cap="flat" cmpd="sng" algn="ctr">
                <a:noFill/>
                <a:prstDash val="solid"/>
                <a:round/>
                <a:headEnd type="none" w="med" len="med"/>
                <a:tailEnd type="none" w="med" len="med"/>
              </a:ln>
              <a:effectLst/>
            </p:spPr>
            <p:txBody>
              <a:bodyPr vert="horz" wrap="square" lIns="18288" tIns="18288" rIns="18288" bIns="18288" numCol="1" rtlCol="0" anchor="b" anchorCtr="0" compatLnSpc="1">
                <a:prstTxWarp prst="textNoShape">
                  <a:avLst/>
                </a:prstTxWarp>
                <a:noAutofit/>
              </a:bodyPr>
              <a:lstStyle/>
              <a:p>
                <a:pPr algn="ctr"/>
                <a:r>
                  <a:rPr lang="tr-TR" sz="700" dirty="0">
                    <a:solidFill>
                      <a:srgbClr val="FFFFFF"/>
                    </a:solidFill>
                    <a:latin typeface="Calibri"/>
                  </a:rPr>
                  <a:t>IOT</a:t>
                </a:r>
                <a:endParaRPr lang="en-US" sz="700" dirty="0">
                  <a:solidFill>
                    <a:srgbClr val="FFFFFF"/>
                  </a:solidFill>
                  <a:latin typeface="Calibri"/>
                </a:endParaRPr>
              </a:p>
            </p:txBody>
          </p:sp>
          <p:grpSp>
            <p:nvGrpSpPr>
              <p:cNvPr id="574" name="Group 573"/>
              <p:cNvGrpSpPr/>
              <p:nvPr/>
            </p:nvGrpSpPr>
            <p:grpSpPr>
              <a:xfrm>
                <a:off x="520945" y="2763029"/>
                <a:ext cx="358505" cy="405054"/>
                <a:chOff x="3470275" y="-249238"/>
                <a:chExt cx="696913" cy="787400"/>
              </a:xfrm>
            </p:grpSpPr>
            <p:sp>
              <p:nvSpPr>
                <p:cNvPr id="671" name="Rectangle 87"/>
                <p:cNvSpPr>
                  <a:spLocks noChangeArrowheads="1"/>
                </p:cNvSpPr>
                <p:nvPr/>
              </p:nvSpPr>
              <p:spPr bwMode="auto">
                <a:xfrm>
                  <a:off x="3814763" y="131762"/>
                  <a:ext cx="127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72" name="Freeform 88"/>
                <p:cNvSpPr>
                  <a:spLocks noEditPoints="1"/>
                </p:cNvSpPr>
                <p:nvPr/>
              </p:nvSpPr>
              <p:spPr bwMode="auto">
                <a:xfrm>
                  <a:off x="3814763" y="-153988"/>
                  <a:ext cx="12700" cy="257175"/>
                </a:xfrm>
                <a:custGeom>
                  <a:avLst/>
                  <a:gdLst>
                    <a:gd name="T0" fmla="*/ 8 w 8"/>
                    <a:gd name="T1" fmla="*/ 162 h 162"/>
                    <a:gd name="T2" fmla="*/ 0 w 8"/>
                    <a:gd name="T3" fmla="*/ 162 h 162"/>
                    <a:gd name="T4" fmla="*/ 0 w 8"/>
                    <a:gd name="T5" fmla="*/ 144 h 162"/>
                    <a:gd name="T6" fmla="*/ 8 w 8"/>
                    <a:gd name="T7" fmla="*/ 144 h 162"/>
                    <a:gd name="T8" fmla="*/ 8 w 8"/>
                    <a:gd name="T9" fmla="*/ 162 h 162"/>
                    <a:gd name="T10" fmla="*/ 8 w 8"/>
                    <a:gd name="T11" fmla="*/ 126 h 162"/>
                    <a:gd name="T12" fmla="*/ 0 w 8"/>
                    <a:gd name="T13" fmla="*/ 126 h 162"/>
                    <a:gd name="T14" fmla="*/ 0 w 8"/>
                    <a:gd name="T15" fmla="*/ 108 h 162"/>
                    <a:gd name="T16" fmla="*/ 8 w 8"/>
                    <a:gd name="T17" fmla="*/ 108 h 162"/>
                    <a:gd name="T18" fmla="*/ 8 w 8"/>
                    <a:gd name="T19" fmla="*/ 126 h 162"/>
                    <a:gd name="T20" fmla="*/ 8 w 8"/>
                    <a:gd name="T21" fmla="*/ 90 h 162"/>
                    <a:gd name="T22" fmla="*/ 0 w 8"/>
                    <a:gd name="T23" fmla="*/ 90 h 162"/>
                    <a:gd name="T24" fmla="*/ 0 w 8"/>
                    <a:gd name="T25" fmla="*/ 72 h 162"/>
                    <a:gd name="T26" fmla="*/ 8 w 8"/>
                    <a:gd name="T27" fmla="*/ 72 h 162"/>
                    <a:gd name="T28" fmla="*/ 8 w 8"/>
                    <a:gd name="T29" fmla="*/ 90 h 162"/>
                    <a:gd name="T30" fmla="*/ 8 w 8"/>
                    <a:gd name="T31" fmla="*/ 54 h 162"/>
                    <a:gd name="T32" fmla="*/ 0 w 8"/>
                    <a:gd name="T33" fmla="*/ 54 h 162"/>
                    <a:gd name="T34" fmla="*/ 0 w 8"/>
                    <a:gd name="T35" fmla="*/ 36 h 162"/>
                    <a:gd name="T36" fmla="*/ 8 w 8"/>
                    <a:gd name="T37" fmla="*/ 36 h 162"/>
                    <a:gd name="T38" fmla="*/ 8 w 8"/>
                    <a:gd name="T39" fmla="*/ 54 h 162"/>
                    <a:gd name="T40" fmla="*/ 8 w 8"/>
                    <a:gd name="T41" fmla="*/ 18 h 162"/>
                    <a:gd name="T42" fmla="*/ 0 w 8"/>
                    <a:gd name="T43" fmla="*/ 18 h 162"/>
                    <a:gd name="T44" fmla="*/ 0 w 8"/>
                    <a:gd name="T45" fmla="*/ 0 h 162"/>
                    <a:gd name="T46" fmla="*/ 8 w 8"/>
                    <a:gd name="T47" fmla="*/ 0 h 162"/>
                    <a:gd name="T48" fmla="*/ 8 w 8"/>
                    <a:gd name="T49" fmla="*/ 1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162">
                      <a:moveTo>
                        <a:pt x="8" y="162"/>
                      </a:moveTo>
                      <a:lnTo>
                        <a:pt x="0" y="162"/>
                      </a:lnTo>
                      <a:lnTo>
                        <a:pt x="0" y="144"/>
                      </a:lnTo>
                      <a:lnTo>
                        <a:pt x="8" y="144"/>
                      </a:lnTo>
                      <a:lnTo>
                        <a:pt x="8" y="162"/>
                      </a:lnTo>
                      <a:close/>
                      <a:moveTo>
                        <a:pt x="8" y="126"/>
                      </a:moveTo>
                      <a:lnTo>
                        <a:pt x="0" y="126"/>
                      </a:lnTo>
                      <a:lnTo>
                        <a:pt x="0" y="108"/>
                      </a:lnTo>
                      <a:lnTo>
                        <a:pt x="8" y="108"/>
                      </a:lnTo>
                      <a:lnTo>
                        <a:pt x="8" y="126"/>
                      </a:lnTo>
                      <a:close/>
                      <a:moveTo>
                        <a:pt x="8" y="90"/>
                      </a:moveTo>
                      <a:lnTo>
                        <a:pt x="0" y="90"/>
                      </a:lnTo>
                      <a:lnTo>
                        <a:pt x="0" y="72"/>
                      </a:lnTo>
                      <a:lnTo>
                        <a:pt x="8" y="72"/>
                      </a:lnTo>
                      <a:lnTo>
                        <a:pt x="8" y="90"/>
                      </a:lnTo>
                      <a:close/>
                      <a:moveTo>
                        <a:pt x="8" y="54"/>
                      </a:moveTo>
                      <a:lnTo>
                        <a:pt x="0" y="54"/>
                      </a:lnTo>
                      <a:lnTo>
                        <a:pt x="0" y="36"/>
                      </a:lnTo>
                      <a:lnTo>
                        <a:pt x="8" y="36"/>
                      </a:lnTo>
                      <a:lnTo>
                        <a:pt x="8" y="54"/>
                      </a:lnTo>
                      <a:close/>
                      <a:moveTo>
                        <a:pt x="8" y="18"/>
                      </a:moveTo>
                      <a:lnTo>
                        <a:pt x="0" y="18"/>
                      </a:lnTo>
                      <a:lnTo>
                        <a:pt x="0" y="0"/>
                      </a:lnTo>
                      <a:lnTo>
                        <a:pt x="8" y="0"/>
                      </a:lnTo>
                      <a:lnTo>
                        <a:pt x="8" y="18"/>
                      </a:lnTo>
                      <a:close/>
                    </a:path>
                  </a:pathLst>
                </a:custGeom>
                <a:solidFill>
                  <a:srgbClr val="CF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73" name="Rectangle 89"/>
                <p:cNvSpPr>
                  <a:spLocks noChangeArrowheads="1"/>
                </p:cNvSpPr>
                <p:nvPr/>
              </p:nvSpPr>
              <p:spPr bwMode="auto">
                <a:xfrm>
                  <a:off x="3814763" y="-198438"/>
                  <a:ext cx="12700"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74" name="Rectangle 90"/>
                <p:cNvSpPr>
                  <a:spLocks noChangeArrowheads="1"/>
                </p:cNvSpPr>
                <p:nvPr/>
              </p:nvSpPr>
              <p:spPr bwMode="auto">
                <a:xfrm>
                  <a:off x="3814763" y="144462"/>
                  <a:ext cx="12700"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75" name="Freeform 91"/>
                <p:cNvSpPr>
                  <a:spLocks noEditPoints="1"/>
                </p:cNvSpPr>
                <p:nvPr/>
              </p:nvSpPr>
              <p:spPr bwMode="auto">
                <a:xfrm>
                  <a:off x="3814763" y="188912"/>
                  <a:ext cx="12700" cy="257175"/>
                </a:xfrm>
                <a:custGeom>
                  <a:avLst/>
                  <a:gdLst>
                    <a:gd name="T0" fmla="*/ 8 w 8"/>
                    <a:gd name="T1" fmla="*/ 162 h 162"/>
                    <a:gd name="T2" fmla="*/ 0 w 8"/>
                    <a:gd name="T3" fmla="*/ 162 h 162"/>
                    <a:gd name="T4" fmla="*/ 0 w 8"/>
                    <a:gd name="T5" fmla="*/ 144 h 162"/>
                    <a:gd name="T6" fmla="*/ 8 w 8"/>
                    <a:gd name="T7" fmla="*/ 144 h 162"/>
                    <a:gd name="T8" fmla="*/ 8 w 8"/>
                    <a:gd name="T9" fmla="*/ 162 h 162"/>
                    <a:gd name="T10" fmla="*/ 8 w 8"/>
                    <a:gd name="T11" fmla="*/ 126 h 162"/>
                    <a:gd name="T12" fmla="*/ 0 w 8"/>
                    <a:gd name="T13" fmla="*/ 126 h 162"/>
                    <a:gd name="T14" fmla="*/ 0 w 8"/>
                    <a:gd name="T15" fmla="*/ 108 h 162"/>
                    <a:gd name="T16" fmla="*/ 8 w 8"/>
                    <a:gd name="T17" fmla="*/ 108 h 162"/>
                    <a:gd name="T18" fmla="*/ 8 w 8"/>
                    <a:gd name="T19" fmla="*/ 126 h 162"/>
                    <a:gd name="T20" fmla="*/ 8 w 8"/>
                    <a:gd name="T21" fmla="*/ 90 h 162"/>
                    <a:gd name="T22" fmla="*/ 0 w 8"/>
                    <a:gd name="T23" fmla="*/ 90 h 162"/>
                    <a:gd name="T24" fmla="*/ 0 w 8"/>
                    <a:gd name="T25" fmla="*/ 72 h 162"/>
                    <a:gd name="T26" fmla="*/ 8 w 8"/>
                    <a:gd name="T27" fmla="*/ 72 h 162"/>
                    <a:gd name="T28" fmla="*/ 8 w 8"/>
                    <a:gd name="T29" fmla="*/ 90 h 162"/>
                    <a:gd name="T30" fmla="*/ 8 w 8"/>
                    <a:gd name="T31" fmla="*/ 54 h 162"/>
                    <a:gd name="T32" fmla="*/ 0 w 8"/>
                    <a:gd name="T33" fmla="*/ 54 h 162"/>
                    <a:gd name="T34" fmla="*/ 0 w 8"/>
                    <a:gd name="T35" fmla="*/ 36 h 162"/>
                    <a:gd name="T36" fmla="*/ 8 w 8"/>
                    <a:gd name="T37" fmla="*/ 36 h 162"/>
                    <a:gd name="T38" fmla="*/ 8 w 8"/>
                    <a:gd name="T39" fmla="*/ 54 h 162"/>
                    <a:gd name="T40" fmla="*/ 8 w 8"/>
                    <a:gd name="T41" fmla="*/ 18 h 162"/>
                    <a:gd name="T42" fmla="*/ 0 w 8"/>
                    <a:gd name="T43" fmla="*/ 18 h 162"/>
                    <a:gd name="T44" fmla="*/ 0 w 8"/>
                    <a:gd name="T45" fmla="*/ 0 h 162"/>
                    <a:gd name="T46" fmla="*/ 8 w 8"/>
                    <a:gd name="T47" fmla="*/ 0 h 162"/>
                    <a:gd name="T48" fmla="*/ 8 w 8"/>
                    <a:gd name="T49" fmla="*/ 1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162">
                      <a:moveTo>
                        <a:pt x="8" y="162"/>
                      </a:moveTo>
                      <a:lnTo>
                        <a:pt x="0" y="162"/>
                      </a:lnTo>
                      <a:lnTo>
                        <a:pt x="0" y="144"/>
                      </a:lnTo>
                      <a:lnTo>
                        <a:pt x="8" y="144"/>
                      </a:lnTo>
                      <a:lnTo>
                        <a:pt x="8" y="162"/>
                      </a:lnTo>
                      <a:close/>
                      <a:moveTo>
                        <a:pt x="8" y="126"/>
                      </a:moveTo>
                      <a:lnTo>
                        <a:pt x="0" y="126"/>
                      </a:lnTo>
                      <a:lnTo>
                        <a:pt x="0" y="108"/>
                      </a:lnTo>
                      <a:lnTo>
                        <a:pt x="8" y="108"/>
                      </a:lnTo>
                      <a:lnTo>
                        <a:pt x="8" y="126"/>
                      </a:lnTo>
                      <a:close/>
                      <a:moveTo>
                        <a:pt x="8" y="90"/>
                      </a:moveTo>
                      <a:lnTo>
                        <a:pt x="0" y="90"/>
                      </a:lnTo>
                      <a:lnTo>
                        <a:pt x="0" y="72"/>
                      </a:lnTo>
                      <a:lnTo>
                        <a:pt x="8" y="72"/>
                      </a:lnTo>
                      <a:lnTo>
                        <a:pt x="8" y="90"/>
                      </a:lnTo>
                      <a:close/>
                      <a:moveTo>
                        <a:pt x="8" y="54"/>
                      </a:moveTo>
                      <a:lnTo>
                        <a:pt x="0" y="54"/>
                      </a:lnTo>
                      <a:lnTo>
                        <a:pt x="0" y="36"/>
                      </a:lnTo>
                      <a:lnTo>
                        <a:pt x="8" y="36"/>
                      </a:lnTo>
                      <a:lnTo>
                        <a:pt x="8" y="54"/>
                      </a:lnTo>
                      <a:close/>
                      <a:moveTo>
                        <a:pt x="8" y="18"/>
                      </a:moveTo>
                      <a:lnTo>
                        <a:pt x="0" y="18"/>
                      </a:lnTo>
                      <a:lnTo>
                        <a:pt x="0" y="0"/>
                      </a:lnTo>
                      <a:lnTo>
                        <a:pt x="8" y="0"/>
                      </a:lnTo>
                      <a:lnTo>
                        <a:pt x="8" y="18"/>
                      </a:lnTo>
                      <a:close/>
                    </a:path>
                  </a:pathLst>
                </a:custGeom>
                <a:solidFill>
                  <a:srgbClr val="CF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76" name="Rectangle 92"/>
                <p:cNvSpPr>
                  <a:spLocks noChangeArrowheads="1"/>
                </p:cNvSpPr>
                <p:nvPr/>
              </p:nvSpPr>
              <p:spPr bwMode="auto">
                <a:xfrm>
                  <a:off x="3814763" y="474662"/>
                  <a:ext cx="1270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77" name="Freeform 93"/>
                <p:cNvSpPr>
                  <a:spLocks/>
                </p:cNvSpPr>
                <p:nvPr/>
              </p:nvSpPr>
              <p:spPr bwMode="auto">
                <a:xfrm>
                  <a:off x="3517900" y="303212"/>
                  <a:ext cx="20638" cy="19050"/>
                </a:xfrm>
                <a:custGeom>
                  <a:avLst/>
                  <a:gdLst>
                    <a:gd name="T0" fmla="*/ 5 w 13"/>
                    <a:gd name="T1" fmla="*/ 12 h 12"/>
                    <a:gd name="T2" fmla="*/ 0 w 13"/>
                    <a:gd name="T3" fmla="*/ 6 h 12"/>
                    <a:gd name="T4" fmla="*/ 9 w 13"/>
                    <a:gd name="T5" fmla="*/ 0 h 12"/>
                    <a:gd name="T6" fmla="*/ 13 w 13"/>
                    <a:gd name="T7" fmla="*/ 8 h 12"/>
                    <a:gd name="T8" fmla="*/ 5 w 13"/>
                    <a:gd name="T9" fmla="*/ 12 h 12"/>
                  </a:gdLst>
                  <a:ahLst/>
                  <a:cxnLst>
                    <a:cxn ang="0">
                      <a:pos x="T0" y="T1"/>
                    </a:cxn>
                    <a:cxn ang="0">
                      <a:pos x="T2" y="T3"/>
                    </a:cxn>
                    <a:cxn ang="0">
                      <a:pos x="T4" y="T5"/>
                    </a:cxn>
                    <a:cxn ang="0">
                      <a:pos x="T6" y="T7"/>
                    </a:cxn>
                    <a:cxn ang="0">
                      <a:pos x="T8" y="T9"/>
                    </a:cxn>
                  </a:cxnLst>
                  <a:rect l="0" t="0" r="r" b="b"/>
                  <a:pathLst>
                    <a:path w="13" h="12">
                      <a:moveTo>
                        <a:pt x="5" y="12"/>
                      </a:moveTo>
                      <a:lnTo>
                        <a:pt x="0" y="6"/>
                      </a:lnTo>
                      <a:lnTo>
                        <a:pt x="9" y="0"/>
                      </a:lnTo>
                      <a:lnTo>
                        <a:pt x="13" y="8"/>
                      </a:lnTo>
                      <a:lnTo>
                        <a:pt x="5"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78" name="Freeform 94"/>
                <p:cNvSpPr>
                  <a:spLocks noEditPoints="1"/>
                </p:cNvSpPr>
                <p:nvPr/>
              </p:nvSpPr>
              <p:spPr bwMode="auto">
                <a:xfrm>
                  <a:off x="3557588" y="160337"/>
                  <a:ext cx="228600" cy="139700"/>
                </a:xfrm>
                <a:custGeom>
                  <a:avLst/>
                  <a:gdLst>
                    <a:gd name="T0" fmla="*/ 4 w 144"/>
                    <a:gd name="T1" fmla="*/ 88 h 88"/>
                    <a:gd name="T2" fmla="*/ 0 w 144"/>
                    <a:gd name="T3" fmla="*/ 82 h 88"/>
                    <a:gd name="T4" fmla="*/ 16 w 144"/>
                    <a:gd name="T5" fmla="*/ 72 h 88"/>
                    <a:gd name="T6" fmla="*/ 20 w 144"/>
                    <a:gd name="T7" fmla="*/ 80 h 88"/>
                    <a:gd name="T8" fmla="*/ 4 w 144"/>
                    <a:gd name="T9" fmla="*/ 88 h 88"/>
                    <a:gd name="T10" fmla="*/ 36 w 144"/>
                    <a:gd name="T11" fmla="*/ 70 h 88"/>
                    <a:gd name="T12" fmla="*/ 32 w 144"/>
                    <a:gd name="T13" fmla="*/ 64 h 88"/>
                    <a:gd name="T14" fmla="*/ 46 w 144"/>
                    <a:gd name="T15" fmla="*/ 54 h 88"/>
                    <a:gd name="T16" fmla="*/ 50 w 144"/>
                    <a:gd name="T17" fmla="*/ 62 h 88"/>
                    <a:gd name="T18" fmla="*/ 36 w 144"/>
                    <a:gd name="T19" fmla="*/ 70 h 88"/>
                    <a:gd name="T20" fmla="*/ 66 w 144"/>
                    <a:gd name="T21" fmla="*/ 52 h 88"/>
                    <a:gd name="T22" fmla="*/ 62 w 144"/>
                    <a:gd name="T23" fmla="*/ 46 h 88"/>
                    <a:gd name="T24" fmla="*/ 78 w 144"/>
                    <a:gd name="T25" fmla="*/ 36 h 88"/>
                    <a:gd name="T26" fmla="*/ 82 w 144"/>
                    <a:gd name="T27" fmla="*/ 44 h 88"/>
                    <a:gd name="T28" fmla="*/ 66 w 144"/>
                    <a:gd name="T29" fmla="*/ 52 h 88"/>
                    <a:gd name="T30" fmla="*/ 98 w 144"/>
                    <a:gd name="T31" fmla="*/ 34 h 88"/>
                    <a:gd name="T32" fmla="*/ 94 w 144"/>
                    <a:gd name="T33" fmla="*/ 28 h 88"/>
                    <a:gd name="T34" fmla="*/ 110 w 144"/>
                    <a:gd name="T35" fmla="*/ 18 h 88"/>
                    <a:gd name="T36" fmla="*/ 112 w 144"/>
                    <a:gd name="T37" fmla="*/ 26 h 88"/>
                    <a:gd name="T38" fmla="*/ 98 w 144"/>
                    <a:gd name="T39" fmla="*/ 34 h 88"/>
                    <a:gd name="T40" fmla="*/ 128 w 144"/>
                    <a:gd name="T41" fmla="*/ 16 h 88"/>
                    <a:gd name="T42" fmla="*/ 124 w 144"/>
                    <a:gd name="T43" fmla="*/ 10 h 88"/>
                    <a:gd name="T44" fmla="*/ 140 w 144"/>
                    <a:gd name="T45" fmla="*/ 0 h 88"/>
                    <a:gd name="T46" fmla="*/ 144 w 144"/>
                    <a:gd name="T47" fmla="*/ 8 h 88"/>
                    <a:gd name="T48" fmla="*/ 128 w 144"/>
                    <a:gd name="T49" fmla="*/ 1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88">
                      <a:moveTo>
                        <a:pt x="4" y="88"/>
                      </a:moveTo>
                      <a:lnTo>
                        <a:pt x="0" y="82"/>
                      </a:lnTo>
                      <a:lnTo>
                        <a:pt x="16" y="72"/>
                      </a:lnTo>
                      <a:lnTo>
                        <a:pt x="20" y="80"/>
                      </a:lnTo>
                      <a:lnTo>
                        <a:pt x="4" y="88"/>
                      </a:lnTo>
                      <a:close/>
                      <a:moveTo>
                        <a:pt x="36" y="70"/>
                      </a:moveTo>
                      <a:lnTo>
                        <a:pt x="32" y="64"/>
                      </a:lnTo>
                      <a:lnTo>
                        <a:pt x="46" y="54"/>
                      </a:lnTo>
                      <a:lnTo>
                        <a:pt x="50" y="62"/>
                      </a:lnTo>
                      <a:lnTo>
                        <a:pt x="36" y="70"/>
                      </a:lnTo>
                      <a:close/>
                      <a:moveTo>
                        <a:pt x="66" y="52"/>
                      </a:moveTo>
                      <a:lnTo>
                        <a:pt x="62" y="46"/>
                      </a:lnTo>
                      <a:lnTo>
                        <a:pt x="78" y="36"/>
                      </a:lnTo>
                      <a:lnTo>
                        <a:pt x="82" y="44"/>
                      </a:lnTo>
                      <a:lnTo>
                        <a:pt x="66" y="52"/>
                      </a:lnTo>
                      <a:close/>
                      <a:moveTo>
                        <a:pt x="98" y="34"/>
                      </a:moveTo>
                      <a:lnTo>
                        <a:pt x="94" y="28"/>
                      </a:lnTo>
                      <a:lnTo>
                        <a:pt x="110" y="18"/>
                      </a:lnTo>
                      <a:lnTo>
                        <a:pt x="112" y="26"/>
                      </a:lnTo>
                      <a:lnTo>
                        <a:pt x="98" y="34"/>
                      </a:lnTo>
                      <a:close/>
                      <a:moveTo>
                        <a:pt x="128" y="16"/>
                      </a:moveTo>
                      <a:lnTo>
                        <a:pt x="124" y="10"/>
                      </a:lnTo>
                      <a:lnTo>
                        <a:pt x="140" y="0"/>
                      </a:lnTo>
                      <a:lnTo>
                        <a:pt x="144" y="8"/>
                      </a:lnTo>
                      <a:lnTo>
                        <a:pt x="128" y="16"/>
                      </a:lnTo>
                      <a:close/>
                    </a:path>
                  </a:pathLst>
                </a:custGeom>
                <a:solidFill>
                  <a:srgbClr val="CF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79" name="Freeform 95"/>
                <p:cNvSpPr>
                  <a:spLocks/>
                </p:cNvSpPr>
                <p:nvPr/>
              </p:nvSpPr>
              <p:spPr bwMode="auto">
                <a:xfrm>
                  <a:off x="3805238" y="131762"/>
                  <a:ext cx="28575" cy="25400"/>
                </a:xfrm>
                <a:custGeom>
                  <a:avLst/>
                  <a:gdLst>
                    <a:gd name="T0" fmla="*/ 4 w 18"/>
                    <a:gd name="T1" fmla="*/ 16 h 16"/>
                    <a:gd name="T2" fmla="*/ 0 w 18"/>
                    <a:gd name="T3" fmla="*/ 10 h 16"/>
                    <a:gd name="T4" fmla="*/ 2 w 18"/>
                    <a:gd name="T5" fmla="*/ 8 h 16"/>
                    <a:gd name="T6" fmla="*/ 0 w 18"/>
                    <a:gd name="T7" fmla="*/ 8 h 16"/>
                    <a:gd name="T8" fmla="*/ 4 w 18"/>
                    <a:gd name="T9" fmla="*/ 0 h 16"/>
                    <a:gd name="T10" fmla="*/ 18 w 18"/>
                    <a:gd name="T11" fmla="*/ 8 h 16"/>
                    <a:gd name="T12" fmla="*/ 4 w 18"/>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4" y="16"/>
                      </a:moveTo>
                      <a:lnTo>
                        <a:pt x="0" y="10"/>
                      </a:lnTo>
                      <a:lnTo>
                        <a:pt x="2" y="8"/>
                      </a:lnTo>
                      <a:lnTo>
                        <a:pt x="0" y="8"/>
                      </a:lnTo>
                      <a:lnTo>
                        <a:pt x="4" y="0"/>
                      </a:lnTo>
                      <a:lnTo>
                        <a:pt x="18" y="8"/>
                      </a:lnTo>
                      <a:lnTo>
                        <a:pt x="4"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80" name="Freeform 96"/>
                <p:cNvSpPr>
                  <a:spLocks noEditPoints="1"/>
                </p:cNvSpPr>
                <p:nvPr/>
              </p:nvSpPr>
              <p:spPr bwMode="auto">
                <a:xfrm>
                  <a:off x="3557588" y="-11113"/>
                  <a:ext cx="228600" cy="139700"/>
                </a:xfrm>
                <a:custGeom>
                  <a:avLst/>
                  <a:gdLst>
                    <a:gd name="T0" fmla="*/ 140 w 144"/>
                    <a:gd name="T1" fmla="*/ 88 h 88"/>
                    <a:gd name="T2" fmla="*/ 124 w 144"/>
                    <a:gd name="T3" fmla="*/ 80 h 88"/>
                    <a:gd name="T4" fmla="*/ 128 w 144"/>
                    <a:gd name="T5" fmla="*/ 72 h 88"/>
                    <a:gd name="T6" fmla="*/ 144 w 144"/>
                    <a:gd name="T7" fmla="*/ 82 h 88"/>
                    <a:gd name="T8" fmla="*/ 140 w 144"/>
                    <a:gd name="T9" fmla="*/ 88 h 88"/>
                    <a:gd name="T10" fmla="*/ 110 w 144"/>
                    <a:gd name="T11" fmla="*/ 70 h 88"/>
                    <a:gd name="T12" fmla="*/ 94 w 144"/>
                    <a:gd name="T13" fmla="*/ 62 h 88"/>
                    <a:gd name="T14" fmla="*/ 98 w 144"/>
                    <a:gd name="T15" fmla="*/ 54 h 88"/>
                    <a:gd name="T16" fmla="*/ 112 w 144"/>
                    <a:gd name="T17" fmla="*/ 64 h 88"/>
                    <a:gd name="T18" fmla="*/ 110 w 144"/>
                    <a:gd name="T19" fmla="*/ 70 h 88"/>
                    <a:gd name="T20" fmla="*/ 78 w 144"/>
                    <a:gd name="T21" fmla="*/ 52 h 88"/>
                    <a:gd name="T22" fmla="*/ 62 w 144"/>
                    <a:gd name="T23" fmla="*/ 44 h 88"/>
                    <a:gd name="T24" fmla="*/ 66 w 144"/>
                    <a:gd name="T25" fmla="*/ 36 h 88"/>
                    <a:gd name="T26" fmla="*/ 82 w 144"/>
                    <a:gd name="T27" fmla="*/ 46 h 88"/>
                    <a:gd name="T28" fmla="*/ 78 w 144"/>
                    <a:gd name="T29" fmla="*/ 52 h 88"/>
                    <a:gd name="T30" fmla="*/ 46 w 144"/>
                    <a:gd name="T31" fmla="*/ 34 h 88"/>
                    <a:gd name="T32" fmla="*/ 32 w 144"/>
                    <a:gd name="T33" fmla="*/ 26 h 88"/>
                    <a:gd name="T34" fmla="*/ 36 w 144"/>
                    <a:gd name="T35" fmla="*/ 18 h 88"/>
                    <a:gd name="T36" fmla="*/ 50 w 144"/>
                    <a:gd name="T37" fmla="*/ 28 h 88"/>
                    <a:gd name="T38" fmla="*/ 46 w 144"/>
                    <a:gd name="T39" fmla="*/ 34 h 88"/>
                    <a:gd name="T40" fmla="*/ 16 w 144"/>
                    <a:gd name="T41" fmla="*/ 16 h 88"/>
                    <a:gd name="T42" fmla="*/ 0 w 144"/>
                    <a:gd name="T43" fmla="*/ 8 h 88"/>
                    <a:gd name="T44" fmla="*/ 4 w 144"/>
                    <a:gd name="T45" fmla="*/ 0 h 88"/>
                    <a:gd name="T46" fmla="*/ 20 w 144"/>
                    <a:gd name="T47" fmla="*/ 10 h 88"/>
                    <a:gd name="T48" fmla="*/ 16 w 144"/>
                    <a:gd name="T49" fmla="*/ 1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88">
                      <a:moveTo>
                        <a:pt x="140" y="88"/>
                      </a:moveTo>
                      <a:lnTo>
                        <a:pt x="124" y="80"/>
                      </a:lnTo>
                      <a:lnTo>
                        <a:pt x="128" y="72"/>
                      </a:lnTo>
                      <a:lnTo>
                        <a:pt x="144" y="82"/>
                      </a:lnTo>
                      <a:lnTo>
                        <a:pt x="140" y="88"/>
                      </a:lnTo>
                      <a:close/>
                      <a:moveTo>
                        <a:pt x="110" y="70"/>
                      </a:moveTo>
                      <a:lnTo>
                        <a:pt x="94" y="62"/>
                      </a:lnTo>
                      <a:lnTo>
                        <a:pt x="98" y="54"/>
                      </a:lnTo>
                      <a:lnTo>
                        <a:pt x="112" y="64"/>
                      </a:lnTo>
                      <a:lnTo>
                        <a:pt x="110" y="70"/>
                      </a:lnTo>
                      <a:close/>
                      <a:moveTo>
                        <a:pt x="78" y="52"/>
                      </a:moveTo>
                      <a:lnTo>
                        <a:pt x="62" y="44"/>
                      </a:lnTo>
                      <a:lnTo>
                        <a:pt x="66" y="36"/>
                      </a:lnTo>
                      <a:lnTo>
                        <a:pt x="82" y="46"/>
                      </a:lnTo>
                      <a:lnTo>
                        <a:pt x="78" y="52"/>
                      </a:lnTo>
                      <a:close/>
                      <a:moveTo>
                        <a:pt x="46" y="34"/>
                      </a:moveTo>
                      <a:lnTo>
                        <a:pt x="32" y="26"/>
                      </a:lnTo>
                      <a:lnTo>
                        <a:pt x="36" y="18"/>
                      </a:lnTo>
                      <a:lnTo>
                        <a:pt x="50" y="28"/>
                      </a:lnTo>
                      <a:lnTo>
                        <a:pt x="46" y="34"/>
                      </a:lnTo>
                      <a:close/>
                      <a:moveTo>
                        <a:pt x="16" y="16"/>
                      </a:moveTo>
                      <a:lnTo>
                        <a:pt x="0" y="8"/>
                      </a:lnTo>
                      <a:lnTo>
                        <a:pt x="4" y="0"/>
                      </a:lnTo>
                      <a:lnTo>
                        <a:pt x="20" y="10"/>
                      </a:lnTo>
                      <a:lnTo>
                        <a:pt x="16" y="16"/>
                      </a:lnTo>
                      <a:close/>
                    </a:path>
                  </a:pathLst>
                </a:custGeom>
                <a:solidFill>
                  <a:srgbClr val="CF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81" name="Freeform 97"/>
                <p:cNvSpPr>
                  <a:spLocks/>
                </p:cNvSpPr>
                <p:nvPr/>
              </p:nvSpPr>
              <p:spPr bwMode="auto">
                <a:xfrm>
                  <a:off x="3517900" y="-30163"/>
                  <a:ext cx="20638" cy="15875"/>
                </a:xfrm>
                <a:custGeom>
                  <a:avLst/>
                  <a:gdLst>
                    <a:gd name="T0" fmla="*/ 9 w 13"/>
                    <a:gd name="T1" fmla="*/ 10 h 10"/>
                    <a:gd name="T2" fmla="*/ 0 w 13"/>
                    <a:gd name="T3" fmla="*/ 6 h 10"/>
                    <a:gd name="T4" fmla="*/ 5 w 13"/>
                    <a:gd name="T5" fmla="*/ 0 h 10"/>
                    <a:gd name="T6" fmla="*/ 13 w 13"/>
                    <a:gd name="T7" fmla="*/ 4 h 10"/>
                    <a:gd name="T8" fmla="*/ 9 w 13"/>
                    <a:gd name="T9" fmla="*/ 10 h 10"/>
                  </a:gdLst>
                  <a:ahLst/>
                  <a:cxnLst>
                    <a:cxn ang="0">
                      <a:pos x="T0" y="T1"/>
                    </a:cxn>
                    <a:cxn ang="0">
                      <a:pos x="T2" y="T3"/>
                    </a:cxn>
                    <a:cxn ang="0">
                      <a:pos x="T4" y="T5"/>
                    </a:cxn>
                    <a:cxn ang="0">
                      <a:pos x="T6" y="T7"/>
                    </a:cxn>
                    <a:cxn ang="0">
                      <a:pos x="T8" y="T9"/>
                    </a:cxn>
                  </a:cxnLst>
                  <a:rect l="0" t="0" r="r" b="b"/>
                  <a:pathLst>
                    <a:path w="13" h="10">
                      <a:moveTo>
                        <a:pt x="9" y="10"/>
                      </a:moveTo>
                      <a:lnTo>
                        <a:pt x="0" y="6"/>
                      </a:lnTo>
                      <a:lnTo>
                        <a:pt x="5" y="0"/>
                      </a:lnTo>
                      <a:lnTo>
                        <a:pt x="13" y="4"/>
                      </a:lnTo>
                      <a:lnTo>
                        <a:pt x="9"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82" name="Freeform 98"/>
                <p:cNvSpPr>
                  <a:spLocks/>
                </p:cNvSpPr>
                <p:nvPr/>
              </p:nvSpPr>
              <p:spPr bwMode="auto">
                <a:xfrm>
                  <a:off x="4100513" y="-30163"/>
                  <a:ext cx="19050" cy="15875"/>
                </a:xfrm>
                <a:custGeom>
                  <a:avLst/>
                  <a:gdLst>
                    <a:gd name="T0" fmla="*/ 4 w 12"/>
                    <a:gd name="T1" fmla="*/ 10 h 10"/>
                    <a:gd name="T2" fmla="*/ 0 w 12"/>
                    <a:gd name="T3" fmla="*/ 4 h 10"/>
                    <a:gd name="T4" fmla="*/ 8 w 12"/>
                    <a:gd name="T5" fmla="*/ 0 h 10"/>
                    <a:gd name="T6" fmla="*/ 12 w 12"/>
                    <a:gd name="T7" fmla="*/ 6 h 10"/>
                    <a:gd name="T8" fmla="*/ 4 w 12"/>
                    <a:gd name="T9" fmla="*/ 10 h 10"/>
                  </a:gdLst>
                  <a:ahLst/>
                  <a:cxnLst>
                    <a:cxn ang="0">
                      <a:pos x="T0" y="T1"/>
                    </a:cxn>
                    <a:cxn ang="0">
                      <a:pos x="T2" y="T3"/>
                    </a:cxn>
                    <a:cxn ang="0">
                      <a:pos x="T4" y="T5"/>
                    </a:cxn>
                    <a:cxn ang="0">
                      <a:pos x="T6" y="T7"/>
                    </a:cxn>
                    <a:cxn ang="0">
                      <a:pos x="T8" y="T9"/>
                    </a:cxn>
                  </a:cxnLst>
                  <a:rect l="0" t="0" r="r" b="b"/>
                  <a:pathLst>
                    <a:path w="12" h="10">
                      <a:moveTo>
                        <a:pt x="4" y="10"/>
                      </a:moveTo>
                      <a:lnTo>
                        <a:pt x="0" y="4"/>
                      </a:lnTo>
                      <a:lnTo>
                        <a:pt x="8" y="0"/>
                      </a:lnTo>
                      <a:lnTo>
                        <a:pt x="12" y="6"/>
                      </a:lnTo>
                      <a:lnTo>
                        <a:pt x="4"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83" name="Freeform 99"/>
                <p:cNvSpPr>
                  <a:spLocks noEditPoints="1"/>
                </p:cNvSpPr>
                <p:nvPr/>
              </p:nvSpPr>
              <p:spPr bwMode="auto">
                <a:xfrm>
                  <a:off x="3856038" y="-11113"/>
                  <a:ext cx="228600" cy="139700"/>
                </a:xfrm>
                <a:custGeom>
                  <a:avLst/>
                  <a:gdLst>
                    <a:gd name="T0" fmla="*/ 4 w 144"/>
                    <a:gd name="T1" fmla="*/ 88 h 88"/>
                    <a:gd name="T2" fmla="*/ 0 w 144"/>
                    <a:gd name="T3" fmla="*/ 82 h 88"/>
                    <a:gd name="T4" fmla="*/ 14 w 144"/>
                    <a:gd name="T5" fmla="*/ 72 h 88"/>
                    <a:gd name="T6" fmla="*/ 18 w 144"/>
                    <a:gd name="T7" fmla="*/ 80 h 88"/>
                    <a:gd name="T8" fmla="*/ 4 w 144"/>
                    <a:gd name="T9" fmla="*/ 88 h 88"/>
                    <a:gd name="T10" fmla="*/ 34 w 144"/>
                    <a:gd name="T11" fmla="*/ 70 h 88"/>
                    <a:gd name="T12" fmla="*/ 30 w 144"/>
                    <a:gd name="T13" fmla="*/ 64 h 88"/>
                    <a:gd name="T14" fmla="*/ 46 w 144"/>
                    <a:gd name="T15" fmla="*/ 54 h 88"/>
                    <a:gd name="T16" fmla="*/ 50 w 144"/>
                    <a:gd name="T17" fmla="*/ 62 h 88"/>
                    <a:gd name="T18" fmla="*/ 34 w 144"/>
                    <a:gd name="T19" fmla="*/ 70 h 88"/>
                    <a:gd name="T20" fmla="*/ 66 w 144"/>
                    <a:gd name="T21" fmla="*/ 52 h 88"/>
                    <a:gd name="T22" fmla="*/ 62 w 144"/>
                    <a:gd name="T23" fmla="*/ 46 h 88"/>
                    <a:gd name="T24" fmla="*/ 78 w 144"/>
                    <a:gd name="T25" fmla="*/ 36 h 88"/>
                    <a:gd name="T26" fmla="*/ 80 w 144"/>
                    <a:gd name="T27" fmla="*/ 44 h 88"/>
                    <a:gd name="T28" fmla="*/ 66 w 144"/>
                    <a:gd name="T29" fmla="*/ 52 h 88"/>
                    <a:gd name="T30" fmla="*/ 96 w 144"/>
                    <a:gd name="T31" fmla="*/ 34 h 88"/>
                    <a:gd name="T32" fmla="*/ 92 w 144"/>
                    <a:gd name="T33" fmla="*/ 28 h 88"/>
                    <a:gd name="T34" fmla="*/ 108 w 144"/>
                    <a:gd name="T35" fmla="*/ 18 h 88"/>
                    <a:gd name="T36" fmla="*/ 112 w 144"/>
                    <a:gd name="T37" fmla="*/ 26 h 88"/>
                    <a:gd name="T38" fmla="*/ 96 w 144"/>
                    <a:gd name="T39" fmla="*/ 34 h 88"/>
                    <a:gd name="T40" fmla="*/ 128 w 144"/>
                    <a:gd name="T41" fmla="*/ 16 h 88"/>
                    <a:gd name="T42" fmla="*/ 124 w 144"/>
                    <a:gd name="T43" fmla="*/ 10 h 88"/>
                    <a:gd name="T44" fmla="*/ 140 w 144"/>
                    <a:gd name="T45" fmla="*/ 0 h 88"/>
                    <a:gd name="T46" fmla="*/ 144 w 144"/>
                    <a:gd name="T47" fmla="*/ 8 h 88"/>
                    <a:gd name="T48" fmla="*/ 128 w 144"/>
                    <a:gd name="T49" fmla="*/ 1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88">
                      <a:moveTo>
                        <a:pt x="4" y="88"/>
                      </a:moveTo>
                      <a:lnTo>
                        <a:pt x="0" y="82"/>
                      </a:lnTo>
                      <a:lnTo>
                        <a:pt x="14" y="72"/>
                      </a:lnTo>
                      <a:lnTo>
                        <a:pt x="18" y="80"/>
                      </a:lnTo>
                      <a:lnTo>
                        <a:pt x="4" y="88"/>
                      </a:lnTo>
                      <a:close/>
                      <a:moveTo>
                        <a:pt x="34" y="70"/>
                      </a:moveTo>
                      <a:lnTo>
                        <a:pt x="30" y="64"/>
                      </a:lnTo>
                      <a:lnTo>
                        <a:pt x="46" y="54"/>
                      </a:lnTo>
                      <a:lnTo>
                        <a:pt x="50" y="62"/>
                      </a:lnTo>
                      <a:lnTo>
                        <a:pt x="34" y="70"/>
                      </a:lnTo>
                      <a:close/>
                      <a:moveTo>
                        <a:pt x="66" y="52"/>
                      </a:moveTo>
                      <a:lnTo>
                        <a:pt x="62" y="46"/>
                      </a:lnTo>
                      <a:lnTo>
                        <a:pt x="78" y="36"/>
                      </a:lnTo>
                      <a:lnTo>
                        <a:pt x="80" y="44"/>
                      </a:lnTo>
                      <a:lnTo>
                        <a:pt x="66" y="52"/>
                      </a:lnTo>
                      <a:close/>
                      <a:moveTo>
                        <a:pt x="96" y="34"/>
                      </a:moveTo>
                      <a:lnTo>
                        <a:pt x="92" y="28"/>
                      </a:lnTo>
                      <a:lnTo>
                        <a:pt x="108" y="18"/>
                      </a:lnTo>
                      <a:lnTo>
                        <a:pt x="112" y="26"/>
                      </a:lnTo>
                      <a:lnTo>
                        <a:pt x="96" y="34"/>
                      </a:lnTo>
                      <a:close/>
                      <a:moveTo>
                        <a:pt x="128" y="16"/>
                      </a:moveTo>
                      <a:lnTo>
                        <a:pt x="124" y="10"/>
                      </a:lnTo>
                      <a:lnTo>
                        <a:pt x="140" y="0"/>
                      </a:lnTo>
                      <a:lnTo>
                        <a:pt x="144" y="8"/>
                      </a:lnTo>
                      <a:lnTo>
                        <a:pt x="128" y="16"/>
                      </a:lnTo>
                      <a:close/>
                    </a:path>
                  </a:pathLst>
                </a:custGeom>
                <a:solidFill>
                  <a:srgbClr val="CF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84" name="Freeform 100"/>
                <p:cNvSpPr>
                  <a:spLocks/>
                </p:cNvSpPr>
                <p:nvPr/>
              </p:nvSpPr>
              <p:spPr bwMode="auto">
                <a:xfrm>
                  <a:off x="3808413" y="131762"/>
                  <a:ext cx="28575" cy="25400"/>
                </a:xfrm>
                <a:custGeom>
                  <a:avLst/>
                  <a:gdLst>
                    <a:gd name="T0" fmla="*/ 14 w 18"/>
                    <a:gd name="T1" fmla="*/ 16 h 16"/>
                    <a:gd name="T2" fmla="*/ 0 w 18"/>
                    <a:gd name="T3" fmla="*/ 8 h 16"/>
                    <a:gd name="T4" fmla="*/ 14 w 18"/>
                    <a:gd name="T5" fmla="*/ 0 h 16"/>
                    <a:gd name="T6" fmla="*/ 18 w 18"/>
                    <a:gd name="T7" fmla="*/ 8 h 16"/>
                    <a:gd name="T8" fmla="*/ 16 w 18"/>
                    <a:gd name="T9" fmla="*/ 8 h 16"/>
                    <a:gd name="T10" fmla="*/ 18 w 18"/>
                    <a:gd name="T11" fmla="*/ 10 h 16"/>
                    <a:gd name="T12" fmla="*/ 14 w 18"/>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4" y="16"/>
                      </a:moveTo>
                      <a:lnTo>
                        <a:pt x="0" y="8"/>
                      </a:lnTo>
                      <a:lnTo>
                        <a:pt x="14" y="0"/>
                      </a:lnTo>
                      <a:lnTo>
                        <a:pt x="18" y="8"/>
                      </a:lnTo>
                      <a:lnTo>
                        <a:pt x="16" y="8"/>
                      </a:lnTo>
                      <a:lnTo>
                        <a:pt x="18" y="10"/>
                      </a:lnTo>
                      <a:lnTo>
                        <a:pt x="14"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85" name="Freeform 101"/>
                <p:cNvSpPr>
                  <a:spLocks noEditPoints="1"/>
                </p:cNvSpPr>
                <p:nvPr/>
              </p:nvSpPr>
              <p:spPr bwMode="auto">
                <a:xfrm>
                  <a:off x="3856038" y="160337"/>
                  <a:ext cx="228600" cy="139700"/>
                </a:xfrm>
                <a:custGeom>
                  <a:avLst/>
                  <a:gdLst>
                    <a:gd name="T0" fmla="*/ 140 w 144"/>
                    <a:gd name="T1" fmla="*/ 88 h 88"/>
                    <a:gd name="T2" fmla="*/ 124 w 144"/>
                    <a:gd name="T3" fmla="*/ 80 h 88"/>
                    <a:gd name="T4" fmla="*/ 128 w 144"/>
                    <a:gd name="T5" fmla="*/ 72 h 88"/>
                    <a:gd name="T6" fmla="*/ 144 w 144"/>
                    <a:gd name="T7" fmla="*/ 82 h 88"/>
                    <a:gd name="T8" fmla="*/ 140 w 144"/>
                    <a:gd name="T9" fmla="*/ 88 h 88"/>
                    <a:gd name="T10" fmla="*/ 108 w 144"/>
                    <a:gd name="T11" fmla="*/ 70 h 88"/>
                    <a:gd name="T12" fmla="*/ 92 w 144"/>
                    <a:gd name="T13" fmla="*/ 62 h 88"/>
                    <a:gd name="T14" fmla="*/ 96 w 144"/>
                    <a:gd name="T15" fmla="*/ 54 h 88"/>
                    <a:gd name="T16" fmla="*/ 112 w 144"/>
                    <a:gd name="T17" fmla="*/ 64 h 88"/>
                    <a:gd name="T18" fmla="*/ 108 w 144"/>
                    <a:gd name="T19" fmla="*/ 70 h 88"/>
                    <a:gd name="T20" fmla="*/ 78 w 144"/>
                    <a:gd name="T21" fmla="*/ 52 h 88"/>
                    <a:gd name="T22" fmla="*/ 62 w 144"/>
                    <a:gd name="T23" fmla="*/ 44 h 88"/>
                    <a:gd name="T24" fmla="*/ 66 w 144"/>
                    <a:gd name="T25" fmla="*/ 36 h 88"/>
                    <a:gd name="T26" fmla="*/ 80 w 144"/>
                    <a:gd name="T27" fmla="*/ 46 h 88"/>
                    <a:gd name="T28" fmla="*/ 78 w 144"/>
                    <a:gd name="T29" fmla="*/ 52 h 88"/>
                    <a:gd name="T30" fmla="*/ 46 w 144"/>
                    <a:gd name="T31" fmla="*/ 34 h 88"/>
                    <a:gd name="T32" fmla="*/ 30 w 144"/>
                    <a:gd name="T33" fmla="*/ 26 h 88"/>
                    <a:gd name="T34" fmla="*/ 34 w 144"/>
                    <a:gd name="T35" fmla="*/ 18 h 88"/>
                    <a:gd name="T36" fmla="*/ 50 w 144"/>
                    <a:gd name="T37" fmla="*/ 28 h 88"/>
                    <a:gd name="T38" fmla="*/ 46 w 144"/>
                    <a:gd name="T39" fmla="*/ 34 h 88"/>
                    <a:gd name="T40" fmla="*/ 14 w 144"/>
                    <a:gd name="T41" fmla="*/ 16 h 88"/>
                    <a:gd name="T42" fmla="*/ 0 w 144"/>
                    <a:gd name="T43" fmla="*/ 8 h 88"/>
                    <a:gd name="T44" fmla="*/ 4 w 144"/>
                    <a:gd name="T45" fmla="*/ 0 h 88"/>
                    <a:gd name="T46" fmla="*/ 18 w 144"/>
                    <a:gd name="T47" fmla="*/ 10 h 88"/>
                    <a:gd name="T48" fmla="*/ 14 w 144"/>
                    <a:gd name="T49" fmla="*/ 1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88">
                      <a:moveTo>
                        <a:pt x="140" y="88"/>
                      </a:moveTo>
                      <a:lnTo>
                        <a:pt x="124" y="80"/>
                      </a:lnTo>
                      <a:lnTo>
                        <a:pt x="128" y="72"/>
                      </a:lnTo>
                      <a:lnTo>
                        <a:pt x="144" y="82"/>
                      </a:lnTo>
                      <a:lnTo>
                        <a:pt x="140" y="88"/>
                      </a:lnTo>
                      <a:close/>
                      <a:moveTo>
                        <a:pt x="108" y="70"/>
                      </a:moveTo>
                      <a:lnTo>
                        <a:pt x="92" y="62"/>
                      </a:lnTo>
                      <a:lnTo>
                        <a:pt x="96" y="54"/>
                      </a:lnTo>
                      <a:lnTo>
                        <a:pt x="112" y="64"/>
                      </a:lnTo>
                      <a:lnTo>
                        <a:pt x="108" y="70"/>
                      </a:lnTo>
                      <a:close/>
                      <a:moveTo>
                        <a:pt x="78" y="52"/>
                      </a:moveTo>
                      <a:lnTo>
                        <a:pt x="62" y="44"/>
                      </a:lnTo>
                      <a:lnTo>
                        <a:pt x="66" y="36"/>
                      </a:lnTo>
                      <a:lnTo>
                        <a:pt x="80" y="46"/>
                      </a:lnTo>
                      <a:lnTo>
                        <a:pt x="78" y="52"/>
                      </a:lnTo>
                      <a:close/>
                      <a:moveTo>
                        <a:pt x="46" y="34"/>
                      </a:moveTo>
                      <a:lnTo>
                        <a:pt x="30" y="26"/>
                      </a:lnTo>
                      <a:lnTo>
                        <a:pt x="34" y="18"/>
                      </a:lnTo>
                      <a:lnTo>
                        <a:pt x="50" y="28"/>
                      </a:lnTo>
                      <a:lnTo>
                        <a:pt x="46" y="34"/>
                      </a:lnTo>
                      <a:close/>
                      <a:moveTo>
                        <a:pt x="14" y="16"/>
                      </a:moveTo>
                      <a:lnTo>
                        <a:pt x="0" y="8"/>
                      </a:lnTo>
                      <a:lnTo>
                        <a:pt x="4" y="0"/>
                      </a:lnTo>
                      <a:lnTo>
                        <a:pt x="18" y="10"/>
                      </a:lnTo>
                      <a:lnTo>
                        <a:pt x="14" y="16"/>
                      </a:lnTo>
                      <a:close/>
                    </a:path>
                  </a:pathLst>
                </a:custGeom>
                <a:solidFill>
                  <a:srgbClr val="CF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86" name="Freeform 102"/>
                <p:cNvSpPr>
                  <a:spLocks/>
                </p:cNvSpPr>
                <p:nvPr/>
              </p:nvSpPr>
              <p:spPr bwMode="auto">
                <a:xfrm>
                  <a:off x="4100513" y="303212"/>
                  <a:ext cx="19050" cy="19050"/>
                </a:xfrm>
                <a:custGeom>
                  <a:avLst/>
                  <a:gdLst>
                    <a:gd name="T0" fmla="*/ 8 w 12"/>
                    <a:gd name="T1" fmla="*/ 12 h 12"/>
                    <a:gd name="T2" fmla="*/ 0 w 12"/>
                    <a:gd name="T3" fmla="*/ 8 h 12"/>
                    <a:gd name="T4" fmla="*/ 4 w 12"/>
                    <a:gd name="T5" fmla="*/ 0 h 12"/>
                    <a:gd name="T6" fmla="*/ 12 w 12"/>
                    <a:gd name="T7" fmla="*/ 6 h 12"/>
                    <a:gd name="T8" fmla="*/ 8 w 12"/>
                    <a:gd name="T9" fmla="*/ 12 h 12"/>
                  </a:gdLst>
                  <a:ahLst/>
                  <a:cxnLst>
                    <a:cxn ang="0">
                      <a:pos x="T0" y="T1"/>
                    </a:cxn>
                    <a:cxn ang="0">
                      <a:pos x="T2" y="T3"/>
                    </a:cxn>
                    <a:cxn ang="0">
                      <a:pos x="T4" y="T5"/>
                    </a:cxn>
                    <a:cxn ang="0">
                      <a:pos x="T6" y="T7"/>
                    </a:cxn>
                    <a:cxn ang="0">
                      <a:pos x="T8" y="T9"/>
                    </a:cxn>
                  </a:cxnLst>
                  <a:rect l="0" t="0" r="r" b="b"/>
                  <a:pathLst>
                    <a:path w="12" h="12">
                      <a:moveTo>
                        <a:pt x="8" y="12"/>
                      </a:moveTo>
                      <a:lnTo>
                        <a:pt x="0" y="8"/>
                      </a:lnTo>
                      <a:lnTo>
                        <a:pt x="4" y="0"/>
                      </a:lnTo>
                      <a:lnTo>
                        <a:pt x="12" y="6"/>
                      </a:lnTo>
                      <a:lnTo>
                        <a:pt x="8"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87" name="Freeform 103"/>
                <p:cNvSpPr>
                  <a:spLocks/>
                </p:cNvSpPr>
                <p:nvPr/>
              </p:nvSpPr>
              <p:spPr bwMode="auto">
                <a:xfrm>
                  <a:off x="3805238" y="474662"/>
                  <a:ext cx="31750" cy="19050"/>
                </a:xfrm>
                <a:custGeom>
                  <a:avLst/>
                  <a:gdLst>
                    <a:gd name="T0" fmla="*/ 10 w 20"/>
                    <a:gd name="T1" fmla="*/ 12 h 12"/>
                    <a:gd name="T2" fmla="*/ 0 w 20"/>
                    <a:gd name="T3" fmla="*/ 8 h 12"/>
                    <a:gd name="T4" fmla="*/ 4 w 20"/>
                    <a:gd name="T5" fmla="*/ 0 h 12"/>
                    <a:gd name="T6" fmla="*/ 10 w 20"/>
                    <a:gd name="T7" fmla="*/ 4 h 12"/>
                    <a:gd name="T8" fmla="*/ 16 w 20"/>
                    <a:gd name="T9" fmla="*/ 0 h 12"/>
                    <a:gd name="T10" fmla="*/ 20 w 20"/>
                    <a:gd name="T11" fmla="*/ 8 h 12"/>
                    <a:gd name="T12" fmla="*/ 10 w 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10" y="12"/>
                      </a:moveTo>
                      <a:lnTo>
                        <a:pt x="0" y="8"/>
                      </a:lnTo>
                      <a:lnTo>
                        <a:pt x="4" y="0"/>
                      </a:lnTo>
                      <a:lnTo>
                        <a:pt x="10" y="4"/>
                      </a:lnTo>
                      <a:lnTo>
                        <a:pt x="16" y="0"/>
                      </a:lnTo>
                      <a:lnTo>
                        <a:pt x="20" y="8"/>
                      </a:lnTo>
                      <a:lnTo>
                        <a:pt x="1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88" name="Freeform 104"/>
                <p:cNvSpPr>
                  <a:spLocks noEditPoints="1"/>
                </p:cNvSpPr>
                <p:nvPr/>
              </p:nvSpPr>
              <p:spPr bwMode="auto">
                <a:xfrm>
                  <a:off x="3557588" y="331787"/>
                  <a:ext cx="228600" cy="139700"/>
                </a:xfrm>
                <a:custGeom>
                  <a:avLst/>
                  <a:gdLst>
                    <a:gd name="T0" fmla="*/ 140 w 144"/>
                    <a:gd name="T1" fmla="*/ 88 h 88"/>
                    <a:gd name="T2" fmla="*/ 124 w 144"/>
                    <a:gd name="T3" fmla="*/ 80 h 88"/>
                    <a:gd name="T4" fmla="*/ 128 w 144"/>
                    <a:gd name="T5" fmla="*/ 72 h 88"/>
                    <a:gd name="T6" fmla="*/ 144 w 144"/>
                    <a:gd name="T7" fmla="*/ 82 h 88"/>
                    <a:gd name="T8" fmla="*/ 140 w 144"/>
                    <a:gd name="T9" fmla="*/ 88 h 88"/>
                    <a:gd name="T10" fmla="*/ 110 w 144"/>
                    <a:gd name="T11" fmla="*/ 70 h 88"/>
                    <a:gd name="T12" fmla="*/ 94 w 144"/>
                    <a:gd name="T13" fmla="*/ 62 h 88"/>
                    <a:gd name="T14" fmla="*/ 98 w 144"/>
                    <a:gd name="T15" fmla="*/ 54 h 88"/>
                    <a:gd name="T16" fmla="*/ 112 w 144"/>
                    <a:gd name="T17" fmla="*/ 64 h 88"/>
                    <a:gd name="T18" fmla="*/ 110 w 144"/>
                    <a:gd name="T19" fmla="*/ 70 h 88"/>
                    <a:gd name="T20" fmla="*/ 78 w 144"/>
                    <a:gd name="T21" fmla="*/ 52 h 88"/>
                    <a:gd name="T22" fmla="*/ 62 w 144"/>
                    <a:gd name="T23" fmla="*/ 44 h 88"/>
                    <a:gd name="T24" fmla="*/ 66 w 144"/>
                    <a:gd name="T25" fmla="*/ 36 h 88"/>
                    <a:gd name="T26" fmla="*/ 82 w 144"/>
                    <a:gd name="T27" fmla="*/ 46 h 88"/>
                    <a:gd name="T28" fmla="*/ 78 w 144"/>
                    <a:gd name="T29" fmla="*/ 52 h 88"/>
                    <a:gd name="T30" fmla="*/ 46 w 144"/>
                    <a:gd name="T31" fmla="*/ 34 h 88"/>
                    <a:gd name="T32" fmla="*/ 32 w 144"/>
                    <a:gd name="T33" fmla="*/ 26 h 88"/>
                    <a:gd name="T34" fmla="*/ 36 w 144"/>
                    <a:gd name="T35" fmla="*/ 18 h 88"/>
                    <a:gd name="T36" fmla="*/ 50 w 144"/>
                    <a:gd name="T37" fmla="*/ 28 h 88"/>
                    <a:gd name="T38" fmla="*/ 46 w 144"/>
                    <a:gd name="T39" fmla="*/ 34 h 88"/>
                    <a:gd name="T40" fmla="*/ 16 w 144"/>
                    <a:gd name="T41" fmla="*/ 16 h 88"/>
                    <a:gd name="T42" fmla="*/ 0 w 144"/>
                    <a:gd name="T43" fmla="*/ 8 h 88"/>
                    <a:gd name="T44" fmla="*/ 4 w 144"/>
                    <a:gd name="T45" fmla="*/ 0 h 88"/>
                    <a:gd name="T46" fmla="*/ 20 w 144"/>
                    <a:gd name="T47" fmla="*/ 10 h 88"/>
                    <a:gd name="T48" fmla="*/ 16 w 144"/>
                    <a:gd name="T49" fmla="*/ 1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88">
                      <a:moveTo>
                        <a:pt x="140" y="88"/>
                      </a:moveTo>
                      <a:lnTo>
                        <a:pt x="124" y="80"/>
                      </a:lnTo>
                      <a:lnTo>
                        <a:pt x="128" y="72"/>
                      </a:lnTo>
                      <a:lnTo>
                        <a:pt x="144" y="82"/>
                      </a:lnTo>
                      <a:lnTo>
                        <a:pt x="140" y="88"/>
                      </a:lnTo>
                      <a:close/>
                      <a:moveTo>
                        <a:pt x="110" y="70"/>
                      </a:moveTo>
                      <a:lnTo>
                        <a:pt x="94" y="62"/>
                      </a:lnTo>
                      <a:lnTo>
                        <a:pt x="98" y="54"/>
                      </a:lnTo>
                      <a:lnTo>
                        <a:pt x="112" y="64"/>
                      </a:lnTo>
                      <a:lnTo>
                        <a:pt x="110" y="70"/>
                      </a:lnTo>
                      <a:close/>
                      <a:moveTo>
                        <a:pt x="78" y="52"/>
                      </a:moveTo>
                      <a:lnTo>
                        <a:pt x="62" y="44"/>
                      </a:lnTo>
                      <a:lnTo>
                        <a:pt x="66" y="36"/>
                      </a:lnTo>
                      <a:lnTo>
                        <a:pt x="82" y="46"/>
                      </a:lnTo>
                      <a:lnTo>
                        <a:pt x="78" y="52"/>
                      </a:lnTo>
                      <a:close/>
                      <a:moveTo>
                        <a:pt x="46" y="34"/>
                      </a:moveTo>
                      <a:lnTo>
                        <a:pt x="32" y="26"/>
                      </a:lnTo>
                      <a:lnTo>
                        <a:pt x="36" y="18"/>
                      </a:lnTo>
                      <a:lnTo>
                        <a:pt x="50" y="28"/>
                      </a:lnTo>
                      <a:lnTo>
                        <a:pt x="46" y="34"/>
                      </a:lnTo>
                      <a:close/>
                      <a:moveTo>
                        <a:pt x="16" y="16"/>
                      </a:moveTo>
                      <a:lnTo>
                        <a:pt x="0" y="8"/>
                      </a:lnTo>
                      <a:lnTo>
                        <a:pt x="4" y="0"/>
                      </a:lnTo>
                      <a:lnTo>
                        <a:pt x="20" y="10"/>
                      </a:lnTo>
                      <a:lnTo>
                        <a:pt x="16" y="16"/>
                      </a:lnTo>
                      <a:close/>
                    </a:path>
                  </a:pathLst>
                </a:custGeom>
                <a:solidFill>
                  <a:srgbClr val="CF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89" name="Freeform 105"/>
                <p:cNvSpPr>
                  <a:spLocks/>
                </p:cNvSpPr>
                <p:nvPr/>
              </p:nvSpPr>
              <p:spPr bwMode="auto">
                <a:xfrm>
                  <a:off x="3514725" y="303212"/>
                  <a:ext cx="23813" cy="25400"/>
                </a:xfrm>
                <a:custGeom>
                  <a:avLst/>
                  <a:gdLst>
                    <a:gd name="T0" fmla="*/ 11 w 15"/>
                    <a:gd name="T1" fmla="*/ 16 h 16"/>
                    <a:gd name="T2" fmla="*/ 0 w 15"/>
                    <a:gd name="T3" fmla="*/ 10 h 16"/>
                    <a:gd name="T4" fmla="*/ 0 w 15"/>
                    <a:gd name="T5" fmla="*/ 0 h 16"/>
                    <a:gd name="T6" fmla="*/ 9 w 15"/>
                    <a:gd name="T7" fmla="*/ 0 h 16"/>
                    <a:gd name="T8" fmla="*/ 9 w 15"/>
                    <a:gd name="T9" fmla="*/ 6 h 16"/>
                    <a:gd name="T10" fmla="*/ 15 w 15"/>
                    <a:gd name="T11" fmla="*/ 10 h 16"/>
                    <a:gd name="T12" fmla="*/ 11 w 15"/>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1" y="16"/>
                      </a:moveTo>
                      <a:lnTo>
                        <a:pt x="0" y="10"/>
                      </a:lnTo>
                      <a:lnTo>
                        <a:pt x="0" y="0"/>
                      </a:lnTo>
                      <a:lnTo>
                        <a:pt x="9" y="0"/>
                      </a:lnTo>
                      <a:lnTo>
                        <a:pt x="9" y="6"/>
                      </a:lnTo>
                      <a:lnTo>
                        <a:pt x="15" y="10"/>
                      </a:lnTo>
                      <a:lnTo>
                        <a:pt x="11"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90" name="Freeform 106"/>
                <p:cNvSpPr>
                  <a:spLocks noEditPoints="1"/>
                </p:cNvSpPr>
                <p:nvPr/>
              </p:nvSpPr>
              <p:spPr bwMode="auto">
                <a:xfrm>
                  <a:off x="3514725" y="17462"/>
                  <a:ext cx="14288" cy="257175"/>
                </a:xfrm>
                <a:custGeom>
                  <a:avLst/>
                  <a:gdLst>
                    <a:gd name="T0" fmla="*/ 9 w 9"/>
                    <a:gd name="T1" fmla="*/ 162 h 162"/>
                    <a:gd name="T2" fmla="*/ 0 w 9"/>
                    <a:gd name="T3" fmla="*/ 162 h 162"/>
                    <a:gd name="T4" fmla="*/ 0 w 9"/>
                    <a:gd name="T5" fmla="*/ 144 h 162"/>
                    <a:gd name="T6" fmla="*/ 9 w 9"/>
                    <a:gd name="T7" fmla="*/ 144 h 162"/>
                    <a:gd name="T8" fmla="*/ 9 w 9"/>
                    <a:gd name="T9" fmla="*/ 162 h 162"/>
                    <a:gd name="T10" fmla="*/ 9 w 9"/>
                    <a:gd name="T11" fmla="*/ 126 h 162"/>
                    <a:gd name="T12" fmla="*/ 0 w 9"/>
                    <a:gd name="T13" fmla="*/ 126 h 162"/>
                    <a:gd name="T14" fmla="*/ 0 w 9"/>
                    <a:gd name="T15" fmla="*/ 108 h 162"/>
                    <a:gd name="T16" fmla="*/ 9 w 9"/>
                    <a:gd name="T17" fmla="*/ 108 h 162"/>
                    <a:gd name="T18" fmla="*/ 9 w 9"/>
                    <a:gd name="T19" fmla="*/ 126 h 162"/>
                    <a:gd name="T20" fmla="*/ 0 w 9"/>
                    <a:gd name="T21" fmla="*/ 72 h 162"/>
                    <a:gd name="T22" fmla="*/ 9 w 9"/>
                    <a:gd name="T23" fmla="*/ 72 h 162"/>
                    <a:gd name="T24" fmla="*/ 9 w 9"/>
                    <a:gd name="T25" fmla="*/ 90 h 162"/>
                    <a:gd name="T26" fmla="*/ 0 w 9"/>
                    <a:gd name="T27" fmla="*/ 90 h 162"/>
                    <a:gd name="T28" fmla="*/ 0 w 9"/>
                    <a:gd name="T29" fmla="*/ 72 h 162"/>
                    <a:gd name="T30" fmla="*/ 9 w 9"/>
                    <a:gd name="T31" fmla="*/ 54 h 162"/>
                    <a:gd name="T32" fmla="*/ 0 w 9"/>
                    <a:gd name="T33" fmla="*/ 54 h 162"/>
                    <a:gd name="T34" fmla="*/ 0 w 9"/>
                    <a:gd name="T35" fmla="*/ 36 h 162"/>
                    <a:gd name="T36" fmla="*/ 9 w 9"/>
                    <a:gd name="T37" fmla="*/ 36 h 162"/>
                    <a:gd name="T38" fmla="*/ 9 w 9"/>
                    <a:gd name="T39" fmla="*/ 54 h 162"/>
                    <a:gd name="T40" fmla="*/ 9 w 9"/>
                    <a:gd name="T41" fmla="*/ 18 h 162"/>
                    <a:gd name="T42" fmla="*/ 0 w 9"/>
                    <a:gd name="T43" fmla="*/ 18 h 162"/>
                    <a:gd name="T44" fmla="*/ 0 w 9"/>
                    <a:gd name="T45" fmla="*/ 0 h 162"/>
                    <a:gd name="T46" fmla="*/ 9 w 9"/>
                    <a:gd name="T47" fmla="*/ 0 h 162"/>
                    <a:gd name="T48" fmla="*/ 9 w 9"/>
                    <a:gd name="T49" fmla="*/ 1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 h="162">
                      <a:moveTo>
                        <a:pt x="9" y="162"/>
                      </a:moveTo>
                      <a:lnTo>
                        <a:pt x="0" y="162"/>
                      </a:lnTo>
                      <a:lnTo>
                        <a:pt x="0" y="144"/>
                      </a:lnTo>
                      <a:lnTo>
                        <a:pt x="9" y="144"/>
                      </a:lnTo>
                      <a:lnTo>
                        <a:pt x="9" y="162"/>
                      </a:lnTo>
                      <a:close/>
                      <a:moveTo>
                        <a:pt x="9" y="126"/>
                      </a:moveTo>
                      <a:lnTo>
                        <a:pt x="0" y="126"/>
                      </a:lnTo>
                      <a:lnTo>
                        <a:pt x="0" y="108"/>
                      </a:lnTo>
                      <a:lnTo>
                        <a:pt x="9" y="108"/>
                      </a:lnTo>
                      <a:lnTo>
                        <a:pt x="9" y="126"/>
                      </a:lnTo>
                      <a:close/>
                      <a:moveTo>
                        <a:pt x="0" y="72"/>
                      </a:moveTo>
                      <a:lnTo>
                        <a:pt x="9" y="72"/>
                      </a:lnTo>
                      <a:lnTo>
                        <a:pt x="9" y="90"/>
                      </a:lnTo>
                      <a:lnTo>
                        <a:pt x="0" y="90"/>
                      </a:lnTo>
                      <a:lnTo>
                        <a:pt x="0" y="72"/>
                      </a:lnTo>
                      <a:close/>
                      <a:moveTo>
                        <a:pt x="9" y="54"/>
                      </a:moveTo>
                      <a:lnTo>
                        <a:pt x="0" y="54"/>
                      </a:lnTo>
                      <a:lnTo>
                        <a:pt x="0" y="36"/>
                      </a:lnTo>
                      <a:lnTo>
                        <a:pt x="9" y="36"/>
                      </a:lnTo>
                      <a:lnTo>
                        <a:pt x="9" y="54"/>
                      </a:lnTo>
                      <a:close/>
                      <a:moveTo>
                        <a:pt x="9" y="18"/>
                      </a:moveTo>
                      <a:lnTo>
                        <a:pt x="0" y="18"/>
                      </a:lnTo>
                      <a:lnTo>
                        <a:pt x="0" y="0"/>
                      </a:lnTo>
                      <a:lnTo>
                        <a:pt x="9" y="0"/>
                      </a:lnTo>
                      <a:lnTo>
                        <a:pt x="9" y="18"/>
                      </a:lnTo>
                      <a:close/>
                    </a:path>
                  </a:pathLst>
                </a:custGeom>
                <a:solidFill>
                  <a:srgbClr val="CF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91" name="Freeform 107"/>
                <p:cNvSpPr>
                  <a:spLocks/>
                </p:cNvSpPr>
                <p:nvPr/>
              </p:nvSpPr>
              <p:spPr bwMode="auto">
                <a:xfrm>
                  <a:off x="3514725" y="-39688"/>
                  <a:ext cx="23813" cy="28575"/>
                </a:xfrm>
                <a:custGeom>
                  <a:avLst/>
                  <a:gdLst>
                    <a:gd name="T0" fmla="*/ 9 w 15"/>
                    <a:gd name="T1" fmla="*/ 18 h 18"/>
                    <a:gd name="T2" fmla="*/ 0 w 15"/>
                    <a:gd name="T3" fmla="*/ 18 h 18"/>
                    <a:gd name="T4" fmla="*/ 0 w 15"/>
                    <a:gd name="T5" fmla="*/ 6 h 18"/>
                    <a:gd name="T6" fmla="*/ 11 w 15"/>
                    <a:gd name="T7" fmla="*/ 0 h 18"/>
                    <a:gd name="T8" fmla="*/ 15 w 15"/>
                    <a:gd name="T9" fmla="*/ 8 h 18"/>
                    <a:gd name="T10" fmla="*/ 9 w 15"/>
                    <a:gd name="T11" fmla="*/ 10 h 18"/>
                    <a:gd name="T12" fmla="*/ 9 w 1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5" h="18">
                      <a:moveTo>
                        <a:pt x="9" y="18"/>
                      </a:moveTo>
                      <a:lnTo>
                        <a:pt x="0" y="18"/>
                      </a:lnTo>
                      <a:lnTo>
                        <a:pt x="0" y="6"/>
                      </a:lnTo>
                      <a:lnTo>
                        <a:pt x="11" y="0"/>
                      </a:lnTo>
                      <a:lnTo>
                        <a:pt x="15" y="8"/>
                      </a:lnTo>
                      <a:lnTo>
                        <a:pt x="9" y="10"/>
                      </a:lnTo>
                      <a:lnTo>
                        <a:pt x="9"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92" name="Freeform 108"/>
                <p:cNvSpPr>
                  <a:spLocks noEditPoints="1"/>
                </p:cNvSpPr>
                <p:nvPr/>
              </p:nvSpPr>
              <p:spPr bwMode="auto">
                <a:xfrm>
                  <a:off x="3557588" y="-182563"/>
                  <a:ext cx="228600" cy="139700"/>
                </a:xfrm>
                <a:custGeom>
                  <a:avLst/>
                  <a:gdLst>
                    <a:gd name="T0" fmla="*/ 4 w 144"/>
                    <a:gd name="T1" fmla="*/ 88 h 88"/>
                    <a:gd name="T2" fmla="*/ 0 w 144"/>
                    <a:gd name="T3" fmla="*/ 82 h 88"/>
                    <a:gd name="T4" fmla="*/ 16 w 144"/>
                    <a:gd name="T5" fmla="*/ 72 h 88"/>
                    <a:gd name="T6" fmla="*/ 20 w 144"/>
                    <a:gd name="T7" fmla="*/ 80 h 88"/>
                    <a:gd name="T8" fmla="*/ 4 w 144"/>
                    <a:gd name="T9" fmla="*/ 88 h 88"/>
                    <a:gd name="T10" fmla="*/ 36 w 144"/>
                    <a:gd name="T11" fmla="*/ 70 h 88"/>
                    <a:gd name="T12" fmla="*/ 32 w 144"/>
                    <a:gd name="T13" fmla="*/ 64 h 88"/>
                    <a:gd name="T14" fmla="*/ 46 w 144"/>
                    <a:gd name="T15" fmla="*/ 54 h 88"/>
                    <a:gd name="T16" fmla="*/ 50 w 144"/>
                    <a:gd name="T17" fmla="*/ 62 h 88"/>
                    <a:gd name="T18" fmla="*/ 36 w 144"/>
                    <a:gd name="T19" fmla="*/ 70 h 88"/>
                    <a:gd name="T20" fmla="*/ 66 w 144"/>
                    <a:gd name="T21" fmla="*/ 52 h 88"/>
                    <a:gd name="T22" fmla="*/ 62 w 144"/>
                    <a:gd name="T23" fmla="*/ 46 h 88"/>
                    <a:gd name="T24" fmla="*/ 78 w 144"/>
                    <a:gd name="T25" fmla="*/ 36 h 88"/>
                    <a:gd name="T26" fmla="*/ 82 w 144"/>
                    <a:gd name="T27" fmla="*/ 44 h 88"/>
                    <a:gd name="T28" fmla="*/ 66 w 144"/>
                    <a:gd name="T29" fmla="*/ 52 h 88"/>
                    <a:gd name="T30" fmla="*/ 98 w 144"/>
                    <a:gd name="T31" fmla="*/ 34 h 88"/>
                    <a:gd name="T32" fmla="*/ 94 w 144"/>
                    <a:gd name="T33" fmla="*/ 28 h 88"/>
                    <a:gd name="T34" fmla="*/ 110 w 144"/>
                    <a:gd name="T35" fmla="*/ 18 h 88"/>
                    <a:gd name="T36" fmla="*/ 112 w 144"/>
                    <a:gd name="T37" fmla="*/ 26 h 88"/>
                    <a:gd name="T38" fmla="*/ 98 w 144"/>
                    <a:gd name="T39" fmla="*/ 34 h 88"/>
                    <a:gd name="T40" fmla="*/ 128 w 144"/>
                    <a:gd name="T41" fmla="*/ 16 h 88"/>
                    <a:gd name="T42" fmla="*/ 124 w 144"/>
                    <a:gd name="T43" fmla="*/ 10 h 88"/>
                    <a:gd name="T44" fmla="*/ 140 w 144"/>
                    <a:gd name="T45" fmla="*/ 0 h 88"/>
                    <a:gd name="T46" fmla="*/ 144 w 144"/>
                    <a:gd name="T47" fmla="*/ 8 h 88"/>
                    <a:gd name="T48" fmla="*/ 128 w 144"/>
                    <a:gd name="T49" fmla="*/ 1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88">
                      <a:moveTo>
                        <a:pt x="4" y="88"/>
                      </a:moveTo>
                      <a:lnTo>
                        <a:pt x="0" y="82"/>
                      </a:lnTo>
                      <a:lnTo>
                        <a:pt x="16" y="72"/>
                      </a:lnTo>
                      <a:lnTo>
                        <a:pt x="20" y="80"/>
                      </a:lnTo>
                      <a:lnTo>
                        <a:pt x="4" y="88"/>
                      </a:lnTo>
                      <a:close/>
                      <a:moveTo>
                        <a:pt x="36" y="70"/>
                      </a:moveTo>
                      <a:lnTo>
                        <a:pt x="32" y="64"/>
                      </a:lnTo>
                      <a:lnTo>
                        <a:pt x="46" y="54"/>
                      </a:lnTo>
                      <a:lnTo>
                        <a:pt x="50" y="62"/>
                      </a:lnTo>
                      <a:lnTo>
                        <a:pt x="36" y="70"/>
                      </a:lnTo>
                      <a:close/>
                      <a:moveTo>
                        <a:pt x="66" y="52"/>
                      </a:moveTo>
                      <a:lnTo>
                        <a:pt x="62" y="46"/>
                      </a:lnTo>
                      <a:lnTo>
                        <a:pt x="78" y="36"/>
                      </a:lnTo>
                      <a:lnTo>
                        <a:pt x="82" y="44"/>
                      </a:lnTo>
                      <a:lnTo>
                        <a:pt x="66" y="52"/>
                      </a:lnTo>
                      <a:close/>
                      <a:moveTo>
                        <a:pt x="98" y="34"/>
                      </a:moveTo>
                      <a:lnTo>
                        <a:pt x="94" y="28"/>
                      </a:lnTo>
                      <a:lnTo>
                        <a:pt x="110" y="18"/>
                      </a:lnTo>
                      <a:lnTo>
                        <a:pt x="112" y="26"/>
                      </a:lnTo>
                      <a:lnTo>
                        <a:pt x="98" y="34"/>
                      </a:lnTo>
                      <a:close/>
                      <a:moveTo>
                        <a:pt x="128" y="16"/>
                      </a:moveTo>
                      <a:lnTo>
                        <a:pt x="124" y="10"/>
                      </a:lnTo>
                      <a:lnTo>
                        <a:pt x="140" y="0"/>
                      </a:lnTo>
                      <a:lnTo>
                        <a:pt x="144" y="8"/>
                      </a:lnTo>
                      <a:lnTo>
                        <a:pt x="128" y="16"/>
                      </a:lnTo>
                      <a:close/>
                    </a:path>
                  </a:pathLst>
                </a:custGeom>
                <a:solidFill>
                  <a:srgbClr val="CF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93" name="Freeform 109"/>
                <p:cNvSpPr>
                  <a:spLocks/>
                </p:cNvSpPr>
                <p:nvPr/>
              </p:nvSpPr>
              <p:spPr bwMode="auto">
                <a:xfrm>
                  <a:off x="3805238" y="-204788"/>
                  <a:ext cx="31750" cy="19050"/>
                </a:xfrm>
                <a:custGeom>
                  <a:avLst/>
                  <a:gdLst>
                    <a:gd name="T0" fmla="*/ 4 w 20"/>
                    <a:gd name="T1" fmla="*/ 12 h 12"/>
                    <a:gd name="T2" fmla="*/ 0 w 20"/>
                    <a:gd name="T3" fmla="*/ 6 h 12"/>
                    <a:gd name="T4" fmla="*/ 10 w 20"/>
                    <a:gd name="T5" fmla="*/ 0 h 12"/>
                    <a:gd name="T6" fmla="*/ 20 w 20"/>
                    <a:gd name="T7" fmla="*/ 6 h 12"/>
                    <a:gd name="T8" fmla="*/ 16 w 20"/>
                    <a:gd name="T9" fmla="*/ 12 h 12"/>
                    <a:gd name="T10" fmla="*/ 10 w 20"/>
                    <a:gd name="T11" fmla="*/ 8 h 12"/>
                    <a:gd name="T12" fmla="*/ 4 w 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4" y="12"/>
                      </a:moveTo>
                      <a:lnTo>
                        <a:pt x="0" y="6"/>
                      </a:lnTo>
                      <a:lnTo>
                        <a:pt x="10" y="0"/>
                      </a:lnTo>
                      <a:lnTo>
                        <a:pt x="20" y="6"/>
                      </a:lnTo>
                      <a:lnTo>
                        <a:pt x="16" y="12"/>
                      </a:lnTo>
                      <a:lnTo>
                        <a:pt x="10" y="8"/>
                      </a:lnTo>
                      <a:lnTo>
                        <a:pt x="4"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94" name="Freeform 110"/>
                <p:cNvSpPr>
                  <a:spLocks noEditPoints="1"/>
                </p:cNvSpPr>
                <p:nvPr/>
              </p:nvSpPr>
              <p:spPr bwMode="auto">
                <a:xfrm>
                  <a:off x="3856038" y="-182563"/>
                  <a:ext cx="228600" cy="139700"/>
                </a:xfrm>
                <a:custGeom>
                  <a:avLst/>
                  <a:gdLst>
                    <a:gd name="T0" fmla="*/ 140 w 144"/>
                    <a:gd name="T1" fmla="*/ 88 h 88"/>
                    <a:gd name="T2" fmla="*/ 124 w 144"/>
                    <a:gd name="T3" fmla="*/ 80 h 88"/>
                    <a:gd name="T4" fmla="*/ 128 w 144"/>
                    <a:gd name="T5" fmla="*/ 72 h 88"/>
                    <a:gd name="T6" fmla="*/ 144 w 144"/>
                    <a:gd name="T7" fmla="*/ 82 h 88"/>
                    <a:gd name="T8" fmla="*/ 140 w 144"/>
                    <a:gd name="T9" fmla="*/ 88 h 88"/>
                    <a:gd name="T10" fmla="*/ 108 w 144"/>
                    <a:gd name="T11" fmla="*/ 70 h 88"/>
                    <a:gd name="T12" fmla="*/ 92 w 144"/>
                    <a:gd name="T13" fmla="*/ 62 h 88"/>
                    <a:gd name="T14" fmla="*/ 96 w 144"/>
                    <a:gd name="T15" fmla="*/ 54 h 88"/>
                    <a:gd name="T16" fmla="*/ 112 w 144"/>
                    <a:gd name="T17" fmla="*/ 64 h 88"/>
                    <a:gd name="T18" fmla="*/ 108 w 144"/>
                    <a:gd name="T19" fmla="*/ 70 h 88"/>
                    <a:gd name="T20" fmla="*/ 78 w 144"/>
                    <a:gd name="T21" fmla="*/ 52 h 88"/>
                    <a:gd name="T22" fmla="*/ 62 w 144"/>
                    <a:gd name="T23" fmla="*/ 44 h 88"/>
                    <a:gd name="T24" fmla="*/ 66 w 144"/>
                    <a:gd name="T25" fmla="*/ 36 h 88"/>
                    <a:gd name="T26" fmla="*/ 80 w 144"/>
                    <a:gd name="T27" fmla="*/ 46 h 88"/>
                    <a:gd name="T28" fmla="*/ 78 w 144"/>
                    <a:gd name="T29" fmla="*/ 52 h 88"/>
                    <a:gd name="T30" fmla="*/ 46 w 144"/>
                    <a:gd name="T31" fmla="*/ 34 h 88"/>
                    <a:gd name="T32" fmla="*/ 30 w 144"/>
                    <a:gd name="T33" fmla="*/ 26 h 88"/>
                    <a:gd name="T34" fmla="*/ 34 w 144"/>
                    <a:gd name="T35" fmla="*/ 18 h 88"/>
                    <a:gd name="T36" fmla="*/ 50 w 144"/>
                    <a:gd name="T37" fmla="*/ 28 h 88"/>
                    <a:gd name="T38" fmla="*/ 46 w 144"/>
                    <a:gd name="T39" fmla="*/ 34 h 88"/>
                    <a:gd name="T40" fmla="*/ 14 w 144"/>
                    <a:gd name="T41" fmla="*/ 16 h 88"/>
                    <a:gd name="T42" fmla="*/ 0 w 144"/>
                    <a:gd name="T43" fmla="*/ 8 h 88"/>
                    <a:gd name="T44" fmla="*/ 4 w 144"/>
                    <a:gd name="T45" fmla="*/ 0 h 88"/>
                    <a:gd name="T46" fmla="*/ 18 w 144"/>
                    <a:gd name="T47" fmla="*/ 10 h 88"/>
                    <a:gd name="T48" fmla="*/ 14 w 144"/>
                    <a:gd name="T49" fmla="*/ 1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88">
                      <a:moveTo>
                        <a:pt x="140" y="88"/>
                      </a:moveTo>
                      <a:lnTo>
                        <a:pt x="124" y="80"/>
                      </a:lnTo>
                      <a:lnTo>
                        <a:pt x="128" y="72"/>
                      </a:lnTo>
                      <a:lnTo>
                        <a:pt x="144" y="82"/>
                      </a:lnTo>
                      <a:lnTo>
                        <a:pt x="140" y="88"/>
                      </a:lnTo>
                      <a:close/>
                      <a:moveTo>
                        <a:pt x="108" y="70"/>
                      </a:moveTo>
                      <a:lnTo>
                        <a:pt x="92" y="62"/>
                      </a:lnTo>
                      <a:lnTo>
                        <a:pt x="96" y="54"/>
                      </a:lnTo>
                      <a:lnTo>
                        <a:pt x="112" y="64"/>
                      </a:lnTo>
                      <a:lnTo>
                        <a:pt x="108" y="70"/>
                      </a:lnTo>
                      <a:close/>
                      <a:moveTo>
                        <a:pt x="78" y="52"/>
                      </a:moveTo>
                      <a:lnTo>
                        <a:pt x="62" y="44"/>
                      </a:lnTo>
                      <a:lnTo>
                        <a:pt x="66" y="36"/>
                      </a:lnTo>
                      <a:lnTo>
                        <a:pt x="80" y="46"/>
                      </a:lnTo>
                      <a:lnTo>
                        <a:pt x="78" y="52"/>
                      </a:lnTo>
                      <a:close/>
                      <a:moveTo>
                        <a:pt x="46" y="34"/>
                      </a:moveTo>
                      <a:lnTo>
                        <a:pt x="30" y="26"/>
                      </a:lnTo>
                      <a:lnTo>
                        <a:pt x="34" y="18"/>
                      </a:lnTo>
                      <a:lnTo>
                        <a:pt x="50" y="28"/>
                      </a:lnTo>
                      <a:lnTo>
                        <a:pt x="46" y="34"/>
                      </a:lnTo>
                      <a:close/>
                      <a:moveTo>
                        <a:pt x="14" y="16"/>
                      </a:moveTo>
                      <a:lnTo>
                        <a:pt x="0" y="8"/>
                      </a:lnTo>
                      <a:lnTo>
                        <a:pt x="4" y="0"/>
                      </a:lnTo>
                      <a:lnTo>
                        <a:pt x="18" y="10"/>
                      </a:lnTo>
                      <a:lnTo>
                        <a:pt x="14" y="16"/>
                      </a:lnTo>
                      <a:close/>
                    </a:path>
                  </a:pathLst>
                </a:custGeom>
                <a:solidFill>
                  <a:srgbClr val="CF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95" name="Freeform 111"/>
                <p:cNvSpPr>
                  <a:spLocks/>
                </p:cNvSpPr>
                <p:nvPr/>
              </p:nvSpPr>
              <p:spPr bwMode="auto">
                <a:xfrm>
                  <a:off x="4100513" y="-39688"/>
                  <a:ext cx="22225" cy="28575"/>
                </a:xfrm>
                <a:custGeom>
                  <a:avLst/>
                  <a:gdLst>
                    <a:gd name="T0" fmla="*/ 14 w 14"/>
                    <a:gd name="T1" fmla="*/ 18 h 18"/>
                    <a:gd name="T2" fmla="*/ 8 w 14"/>
                    <a:gd name="T3" fmla="*/ 18 h 18"/>
                    <a:gd name="T4" fmla="*/ 8 w 14"/>
                    <a:gd name="T5" fmla="*/ 10 h 18"/>
                    <a:gd name="T6" fmla="*/ 0 w 14"/>
                    <a:gd name="T7" fmla="*/ 8 h 18"/>
                    <a:gd name="T8" fmla="*/ 4 w 14"/>
                    <a:gd name="T9" fmla="*/ 0 h 18"/>
                    <a:gd name="T10" fmla="*/ 14 w 14"/>
                    <a:gd name="T11" fmla="*/ 6 h 18"/>
                    <a:gd name="T12" fmla="*/ 14 w 1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4" h="18">
                      <a:moveTo>
                        <a:pt x="14" y="18"/>
                      </a:moveTo>
                      <a:lnTo>
                        <a:pt x="8" y="18"/>
                      </a:lnTo>
                      <a:lnTo>
                        <a:pt x="8" y="10"/>
                      </a:lnTo>
                      <a:lnTo>
                        <a:pt x="0" y="8"/>
                      </a:lnTo>
                      <a:lnTo>
                        <a:pt x="4" y="0"/>
                      </a:lnTo>
                      <a:lnTo>
                        <a:pt x="14" y="6"/>
                      </a:lnTo>
                      <a:lnTo>
                        <a:pt x="14"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96" name="Freeform 112"/>
                <p:cNvSpPr>
                  <a:spLocks noEditPoints="1"/>
                </p:cNvSpPr>
                <p:nvPr/>
              </p:nvSpPr>
              <p:spPr bwMode="auto">
                <a:xfrm>
                  <a:off x="4113213" y="17462"/>
                  <a:ext cx="9525" cy="257175"/>
                </a:xfrm>
                <a:custGeom>
                  <a:avLst/>
                  <a:gdLst>
                    <a:gd name="T0" fmla="*/ 6 w 6"/>
                    <a:gd name="T1" fmla="*/ 162 h 162"/>
                    <a:gd name="T2" fmla="*/ 0 w 6"/>
                    <a:gd name="T3" fmla="*/ 162 h 162"/>
                    <a:gd name="T4" fmla="*/ 0 w 6"/>
                    <a:gd name="T5" fmla="*/ 144 h 162"/>
                    <a:gd name="T6" fmla="*/ 6 w 6"/>
                    <a:gd name="T7" fmla="*/ 144 h 162"/>
                    <a:gd name="T8" fmla="*/ 6 w 6"/>
                    <a:gd name="T9" fmla="*/ 162 h 162"/>
                    <a:gd name="T10" fmla="*/ 6 w 6"/>
                    <a:gd name="T11" fmla="*/ 126 h 162"/>
                    <a:gd name="T12" fmla="*/ 0 w 6"/>
                    <a:gd name="T13" fmla="*/ 126 h 162"/>
                    <a:gd name="T14" fmla="*/ 0 w 6"/>
                    <a:gd name="T15" fmla="*/ 108 h 162"/>
                    <a:gd name="T16" fmla="*/ 6 w 6"/>
                    <a:gd name="T17" fmla="*/ 108 h 162"/>
                    <a:gd name="T18" fmla="*/ 6 w 6"/>
                    <a:gd name="T19" fmla="*/ 126 h 162"/>
                    <a:gd name="T20" fmla="*/ 6 w 6"/>
                    <a:gd name="T21" fmla="*/ 90 h 162"/>
                    <a:gd name="T22" fmla="*/ 0 w 6"/>
                    <a:gd name="T23" fmla="*/ 90 h 162"/>
                    <a:gd name="T24" fmla="*/ 0 w 6"/>
                    <a:gd name="T25" fmla="*/ 72 h 162"/>
                    <a:gd name="T26" fmla="*/ 6 w 6"/>
                    <a:gd name="T27" fmla="*/ 72 h 162"/>
                    <a:gd name="T28" fmla="*/ 6 w 6"/>
                    <a:gd name="T29" fmla="*/ 90 h 162"/>
                    <a:gd name="T30" fmla="*/ 6 w 6"/>
                    <a:gd name="T31" fmla="*/ 54 h 162"/>
                    <a:gd name="T32" fmla="*/ 0 w 6"/>
                    <a:gd name="T33" fmla="*/ 54 h 162"/>
                    <a:gd name="T34" fmla="*/ 0 w 6"/>
                    <a:gd name="T35" fmla="*/ 36 h 162"/>
                    <a:gd name="T36" fmla="*/ 6 w 6"/>
                    <a:gd name="T37" fmla="*/ 36 h 162"/>
                    <a:gd name="T38" fmla="*/ 6 w 6"/>
                    <a:gd name="T39" fmla="*/ 54 h 162"/>
                    <a:gd name="T40" fmla="*/ 6 w 6"/>
                    <a:gd name="T41" fmla="*/ 18 h 162"/>
                    <a:gd name="T42" fmla="*/ 0 w 6"/>
                    <a:gd name="T43" fmla="*/ 18 h 162"/>
                    <a:gd name="T44" fmla="*/ 0 w 6"/>
                    <a:gd name="T45" fmla="*/ 0 h 162"/>
                    <a:gd name="T46" fmla="*/ 6 w 6"/>
                    <a:gd name="T47" fmla="*/ 0 h 162"/>
                    <a:gd name="T48" fmla="*/ 6 w 6"/>
                    <a:gd name="T49" fmla="*/ 1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 h="162">
                      <a:moveTo>
                        <a:pt x="6" y="162"/>
                      </a:moveTo>
                      <a:lnTo>
                        <a:pt x="0" y="162"/>
                      </a:lnTo>
                      <a:lnTo>
                        <a:pt x="0" y="144"/>
                      </a:lnTo>
                      <a:lnTo>
                        <a:pt x="6" y="144"/>
                      </a:lnTo>
                      <a:lnTo>
                        <a:pt x="6" y="162"/>
                      </a:lnTo>
                      <a:close/>
                      <a:moveTo>
                        <a:pt x="6" y="126"/>
                      </a:moveTo>
                      <a:lnTo>
                        <a:pt x="0" y="126"/>
                      </a:lnTo>
                      <a:lnTo>
                        <a:pt x="0" y="108"/>
                      </a:lnTo>
                      <a:lnTo>
                        <a:pt x="6" y="108"/>
                      </a:lnTo>
                      <a:lnTo>
                        <a:pt x="6" y="126"/>
                      </a:lnTo>
                      <a:close/>
                      <a:moveTo>
                        <a:pt x="6" y="90"/>
                      </a:moveTo>
                      <a:lnTo>
                        <a:pt x="0" y="90"/>
                      </a:lnTo>
                      <a:lnTo>
                        <a:pt x="0" y="72"/>
                      </a:lnTo>
                      <a:lnTo>
                        <a:pt x="6" y="72"/>
                      </a:lnTo>
                      <a:lnTo>
                        <a:pt x="6" y="90"/>
                      </a:lnTo>
                      <a:close/>
                      <a:moveTo>
                        <a:pt x="6" y="54"/>
                      </a:moveTo>
                      <a:lnTo>
                        <a:pt x="0" y="54"/>
                      </a:lnTo>
                      <a:lnTo>
                        <a:pt x="0" y="36"/>
                      </a:lnTo>
                      <a:lnTo>
                        <a:pt x="6" y="36"/>
                      </a:lnTo>
                      <a:lnTo>
                        <a:pt x="6" y="54"/>
                      </a:lnTo>
                      <a:close/>
                      <a:moveTo>
                        <a:pt x="6" y="18"/>
                      </a:moveTo>
                      <a:lnTo>
                        <a:pt x="0" y="18"/>
                      </a:lnTo>
                      <a:lnTo>
                        <a:pt x="0" y="0"/>
                      </a:lnTo>
                      <a:lnTo>
                        <a:pt x="6" y="0"/>
                      </a:lnTo>
                      <a:lnTo>
                        <a:pt x="6" y="18"/>
                      </a:lnTo>
                      <a:close/>
                    </a:path>
                  </a:pathLst>
                </a:custGeom>
                <a:solidFill>
                  <a:srgbClr val="CF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97" name="Freeform 113"/>
                <p:cNvSpPr>
                  <a:spLocks/>
                </p:cNvSpPr>
                <p:nvPr/>
              </p:nvSpPr>
              <p:spPr bwMode="auto">
                <a:xfrm>
                  <a:off x="4100513" y="303212"/>
                  <a:ext cx="22225" cy="25400"/>
                </a:xfrm>
                <a:custGeom>
                  <a:avLst/>
                  <a:gdLst>
                    <a:gd name="T0" fmla="*/ 4 w 14"/>
                    <a:gd name="T1" fmla="*/ 16 h 16"/>
                    <a:gd name="T2" fmla="*/ 0 w 14"/>
                    <a:gd name="T3" fmla="*/ 10 h 16"/>
                    <a:gd name="T4" fmla="*/ 8 w 14"/>
                    <a:gd name="T5" fmla="*/ 6 h 16"/>
                    <a:gd name="T6" fmla="*/ 8 w 14"/>
                    <a:gd name="T7" fmla="*/ 0 h 16"/>
                    <a:gd name="T8" fmla="*/ 14 w 14"/>
                    <a:gd name="T9" fmla="*/ 0 h 16"/>
                    <a:gd name="T10" fmla="*/ 14 w 14"/>
                    <a:gd name="T11" fmla="*/ 10 h 16"/>
                    <a:gd name="T12" fmla="*/ 4 w 1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4" h="16">
                      <a:moveTo>
                        <a:pt x="4" y="16"/>
                      </a:moveTo>
                      <a:lnTo>
                        <a:pt x="0" y="10"/>
                      </a:lnTo>
                      <a:lnTo>
                        <a:pt x="8" y="6"/>
                      </a:lnTo>
                      <a:lnTo>
                        <a:pt x="8" y="0"/>
                      </a:lnTo>
                      <a:lnTo>
                        <a:pt x="14" y="0"/>
                      </a:lnTo>
                      <a:lnTo>
                        <a:pt x="14" y="10"/>
                      </a:lnTo>
                      <a:lnTo>
                        <a:pt x="4"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98" name="Freeform 114"/>
                <p:cNvSpPr>
                  <a:spLocks noEditPoints="1"/>
                </p:cNvSpPr>
                <p:nvPr/>
              </p:nvSpPr>
              <p:spPr bwMode="auto">
                <a:xfrm>
                  <a:off x="3856038" y="331787"/>
                  <a:ext cx="228600" cy="139700"/>
                </a:xfrm>
                <a:custGeom>
                  <a:avLst/>
                  <a:gdLst>
                    <a:gd name="T0" fmla="*/ 4 w 144"/>
                    <a:gd name="T1" fmla="*/ 88 h 88"/>
                    <a:gd name="T2" fmla="*/ 0 w 144"/>
                    <a:gd name="T3" fmla="*/ 82 h 88"/>
                    <a:gd name="T4" fmla="*/ 14 w 144"/>
                    <a:gd name="T5" fmla="*/ 72 h 88"/>
                    <a:gd name="T6" fmla="*/ 18 w 144"/>
                    <a:gd name="T7" fmla="*/ 80 h 88"/>
                    <a:gd name="T8" fmla="*/ 4 w 144"/>
                    <a:gd name="T9" fmla="*/ 88 h 88"/>
                    <a:gd name="T10" fmla="*/ 34 w 144"/>
                    <a:gd name="T11" fmla="*/ 70 h 88"/>
                    <a:gd name="T12" fmla="*/ 30 w 144"/>
                    <a:gd name="T13" fmla="*/ 64 h 88"/>
                    <a:gd name="T14" fmla="*/ 46 w 144"/>
                    <a:gd name="T15" fmla="*/ 54 h 88"/>
                    <a:gd name="T16" fmla="*/ 50 w 144"/>
                    <a:gd name="T17" fmla="*/ 62 h 88"/>
                    <a:gd name="T18" fmla="*/ 34 w 144"/>
                    <a:gd name="T19" fmla="*/ 70 h 88"/>
                    <a:gd name="T20" fmla="*/ 66 w 144"/>
                    <a:gd name="T21" fmla="*/ 52 h 88"/>
                    <a:gd name="T22" fmla="*/ 62 w 144"/>
                    <a:gd name="T23" fmla="*/ 46 h 88"/>
                    <a:gd name="T24" fmla="*/ 78 w 144"/>
                    <a:gd name="T25" fmla="*/ 36 h 88"/>
                    <a:gd name="T26" fmla="*/ 80 w 144"/>
                    <a:gd name="T27" fmla="*/ 44 h 88"/>
                    <a:gd name="T28" fmla="*/ 66 w 144"/>
                    <a:gd name="T29" fmla="*/ 52 h 88"/>
                    <a:gd name="T30" fmla="*/ 96 w 144"/>
                    <a:gd name="T31" fmla="*/ 34 h 88"/>
                    <a:gd name="T32" fmla="*/ 92 w 144"/>
                    <a:gd name="T33" fmla="*/ 28 h 88"/>
                    <a:gd name="T34" fmla="*/ 108 w 144"/>
                    <a:gd name="T35" fmla="*/ 18 h 88"/>
                    <a:gd name="T36" fmla="*/ 112 w 144"/>
                    <a:gd name="T37" fmla="*/ 26 h 88"/>
                    <a:gd name="T38" fmla="*/ 96 w 144"/>
                    <a:gd name="T39" fmla="*/ 34 h 88"/>
                    <a:gd name="T40" fmla="*/ 128 w 144"/>
                    <a:gd name="T41" fmla="*/ 16 h 88"/>
                    <a:gd name="T42" fmla="*/ 124 w 144"/>
                    <a:gd name="T43" fmla="*/ 10 h 88"/>
                    <a:gd name="T44" fmla="*/ 140 w 144"/>
                    <a:gd name="T45" fmla="*/ 0 h 88"/>
                    <a:gd name="T46" fmla="*/ 144 w 144"/>
                    <a:gd name="T47" fmla="*/ 8 h 88"/>
                    <a:gd name="T48" fmla="*/ 128 w 144"/>
                    <a:gd name="T49" fmla="*/ 1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88">
                      <a:moveTo>
                        <a:pt x="4" y="88"/>
                      </a:moveTo>
                      <a:lnTo>
                        <a:pt x="0" y="82"/>
                      </a:lnTo>
                      <a:lnTo>
                        <a:pt x="14" y="72"/>
                      </a:lnTo>
                      <a:lnTo>
                        <a:pt x="18" y="80"/>
                      </a:lnTo>
                      <a:lnTo>
                        <a:pt x="4" y="88"/>
                      </a:lnTo>
                      <a:close/>
                      <a:moveTo>
                        <a:pt x="34" y="70"/>
                      </a:moveTo>
                      <a:lnTo>
                        <a:pt x="30" y="64"/>
                      </a:lnTo>
                      <a:lnTo>
                        <a:pt x="46" y="54"/>
                      </a:lnTo>
                      <a:lnTo>
                        <a:pt x="50" y="62"/>
                      </a:lnTo>
                      <a:lnTo>
                        <a:pt x="34" y="70"/>
                      </a:lnTo>
                      <a:close/>
                      <a:moveTo>
                        <a:pt x="66" y="52"/>
                      </a:moveTo>
                      <a:lnTo>
                        <a:pt x="62" y="46"/>
                      </a:lnTo>
                      <a:lnTo>
                        <a:pt x="78" y="36"/>
                      </a:lnTo>
                      <a:lnTo>
                        <a:pt x="80" y="44"/>
                      </a:lnTo>
                      <a:lnTo>
                        <a:pt x="66" y="52"/>
                      </a:lnTo>
                      <a:close/>
                      <a:moveTo>
                        <a:pt x="96" y="34"/>
                      </a:moveTo>
                      <a:lnTo>
                        <a:pt x="92" y="28"/>
                      </a:lnTo>
                      <a:lnTo>
                        <a:pt x="108" y="18"/>
                      </a:lnTo>
                      <a:lnTo>
                        <a:pt x="112" y="26"/>
                      </a:lnTo>
                      <a:lnTo>
                        <a:pt x="96" y="34"/>
                      </a:lnTo>
                      <a:close/>
                      <a:moveTo>
                        <a:pt x="128" y="16"/>
                      </a:moveTo>
                      <a:lnTo>
                        <a:pt x="124" y="10"/>
                      </a:lnTo>
                      <a:lnTo>
                        <a:pt x="140" y="0"/>
                      </a:lnTo>
                      <a:lnTo>
                        <a:pt x="144" y="8"/>
                      </a:lnTo>
                      <a:lnTo>
                        <a:pt x="128" y="16"/>
                      </a:lnTo>
                      <a:close/>
                    </a:path>
                  </a:pathLst>
                </a:custGeom>
                <a:solidFill>
                  <a:srgbClr val="CF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99" name="Freeform 115"/>
                <p:cNvSpPr>
                  <a:spLocks/>
                </p:cNvSpPr>
                <p:nvPr/>
              </p:nvSpPr>
              <p:spPr bwMode="auto">
                <a:xfrm>
                  <a:off x="3770313" y="93662"/>
                  <a:ext cx="101600" cy="101600"/>
                </a:xfrm>
                <a:custGeom>
                  <a:avLst/>
                  <a:gdLst>
                    <a:gd name="T0" fmla="*/ 28 w 32"/>
                    <a:gd name="T1" fmla="*/ 9 h 32"/>
                    <a:gd name="T2" fmla="*/ 23 w 32"/>
                    <a:gd name="T3" fmla="*/ 28 h 32"/>
                    <a:gd name="T4" fmla="*/ 4 w 32"/>
                    <a:gd name="T5" fmla="*/ 23 h 32"/>
                    <a:gd name="T6" fmla="*/ 9 w 32"/>
                    <a:gd name="T7" fmla="*/ 4 h 32"/>
                    <a:gd name="T8" fmla="*/ 28 w 32"/>
                    <a:gd name="T9" fmla="*/ 9 h 32"/>
                  </a:gdLst>
                  <a:ahLst/>
                  <a:cxnLst>
                    <a:cxn ang="0">
                      <a:pos x="T0" y="T1"/>
                    </a:cxn>
                    <a:cxn ang="0">
                      <a:pos x="T2" y="T3"/>
                    </a:cxn>
                    <a:cxn ang="0">
                      <a:pos x="T4" y="T5"/>
                    </a:cxn>
                    <a:cxn ang="0">
                      <a:pos x="T6" y="T7"/>
                    </a:cxn>
                    <a:cxn ang="0">
                      <a:pos x="T8" y="T9"/>
                    </a:cxn>
                  </a:cxnLst>
                  <a:rect l="0" t="0" r="r" b="b"/>
                  <a:pathLst>
                    <a:path w="32" h="32">
                      <a:moveTo>
                        <a:pt x="28" y="9"/>
                      </a:moveTo>
                      <a:cubicBezTo>
                        <a:pt x="32" y="16"/>
                        <a:pt x="30" y="25"/>
                        <a:pt x="23" y="28"/>
                      </a:cubicBezTo>
                      <a:cubicBezTo>
                        <a:pt x="16" y="32"/>
                        <a:pt x="8" y="30"/>
                        <a:pt x="4" y="23"/>
                      </a:cubicBezTo>
                      <a:cubicBezTo>
                        <a:pt x="0" y="17"/>
                        <a:pt x="2" y="8"/>
                        <a:pt x="9" y="4"/>
                      </a:cubicBezTo>
                      <a:cubicBezTo>
                        <a:pt x="16" y="0"/>
                        <a:pt x="24" y="3"/>
                        <a:pt x="28" y="9"/>
                      </a:cubicBezTo>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00" name="Freeform 116"/>
                <p:cNvSpPr>
                  <a:spLocks/>
                </p:cNvSpPr>
                <p:nvPr/>
              </p:nvSpPr>
              <p:spPr bwMode="auto">
                <a:xfrm>
                  <a:off x="3470275" y="-77788"/>
                  <a:ext cx="103188" cy="101600"/>
                </a:xfrm>
                <a:custGeom>
                  <a:avLst/>
                  <a:gdLst>
                    <a:gd name="T0" fmla="*/ 28 w 32"/>
                    <a:gd name="T1" fmla="*/ 9 h 32"/>
                    <a:gd name="T2" fmla="*/ 23 w 32"/>
                    <a:gd name="T3" fmla="*/ 28 h 32"/>
                    <a:gd name="T4" fmla="*/ 4 w 32"/>
                    <a:gd name="T5" fmla="*/ 23 h 32"/>
                    <a:gd name="T6" fmla="*/ 9 w 32"/>
                    <a:gd name="T7" fmla="*/ 4 h 32"/>
                    <a:gd name="T8" fmla="*/ 28 w 32"/>
                    <a:gd name="T9" fmla="*/ 9 h 32"/>
                  </a:gdLst>
                  <a:ahLst/>
                  <a:cxnLst>
                    <a:cxn ang="0">
                      <a:pos x="T0" y="T1"/>
                    </a:cxn>
                    <a:cxn ang="0">
                      <a:pos x="T2" y="T3"/>
                    </a:cxn>
                    <a:cxn ang="0">
                      <a:pos x="T4" y="T5"/>
                    </a:cxn>
                    <a:cxn ang="0">
                      <a:pos x="T6" y="T7"/>
                    </a:cxn>
                    <a:cxn ang="0">
                      <a:pos x="T8" y="T9"/>
                    </a:cxn>
                  </a:cxnLst>
                  <a:rect l="0" t="0" r="r" b="b"/>
                  <a:pathLst>
                    <a:path w="32" h="32">
                      <a:moveTo>
                        <a:pt x="28" y="9"/>
                      </a:moveTo>
                      <a:cubicBezTo>
                        <a:pt x="32" y="16"/>
                        <a:pt x="30" y="25"/>
                        <a:pt x="23" y="28"/>
                      </a:cubicBezTo>
                      <a:cubicBezTo>
                        <a:pt x="17" y="32"/>
                        <a:pt x="8" y="30"/>
                        <a:pt x="4" y="23"/>
                      </a:cubicBezTo>
                      <a:cubicBezTo>
                        <a:pt x="0" y="17"/>
                        <a:pt x="3" y="8"/>
                        <a:pt x="9" y="4"/>
                      </a:cubicBezTo>
                      <a:cubicBezTo>
                        <a:pt x="16" y="0"/>
                        <a:pt x="25" y="3"/>
                        <a:pt x="28"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01" name="Freeform 117"/>
                <p:cNvSpPr>
                  <a:spLocks/>
                </p:cNvSpPr>
                <p:nvPr/>
              </p:nvSpPr>
              <p:spPr bwMode="auto">
                <a:xfrm>
                  <a:off x="3770313" y="-249238"/>
                  <a:ext cx="101600" cy="101600"/>
                </a:xfrm>
                <a:custGeom>
                  <a:avLst/>
                  <a:gdLst>
                    <a:gd name="T0" fmla="*/ 28 w 32"/>
                    <a:gd name="T1" fmla="*/ 9 h 32"/>
                    <a:gd name="T2" fmla="*/ 23 w 32"/>
                    <a:gd name="T3" fmla="*/ 28 h 32"/>
                    <a:gd name="T4" fmla="*/ 4 w 32"/>
                    <a:gd name="T5" fmla="*/ 23 h 32"/>
                    <a:gd name="T6" fmla="*/ 9 w 32"/>
                    <a:gd name="T7" fmla="*/ 4 h 32"/>
                    <a:gd name="T8" fmla="*/ 28 w 32"/>
                    <a:gd name="T9" fmla="*/ 9 h 32"/>
                  </a:gdLst>
                  <a:ahLst/>
                  <a:cxnLst>
                    <a:cxn ang="0">
                      <a:pos x="T0" y="T1"/>
                    </a:cxn>
                    <a:cxn ang="0">
                      <a:pos x="T2" y="T3"/>
                    </a:cxn>
                    <a:cxn ang="0">
                      <a:pos x="T4" y="T5"/>
                    </a:cxn>
                    <a:cxn ang="0">
                      <a:pos x="T6" y="T7"/>
                    </a:cxn>
                    <a:cxn ang="0">
                      <a:pos x="T8" y="T9"/>
                    </a:cxn>
                  </a:cxnLst>
                  <a:rect l="0" t="0" r="r" b="b"/>
                  <a:pathLst>
                    <a:path w="32" h="32">
                      <a:moveTo>
                        <a:pt x="28" y="9"/>
                      </a:moveTo>
                      <a:cubicBezTo>
                        <a:pt x="32" y="16"/>
                        <a:pt x="30" y="25"/>
                        <a:pt x="23" y="28"/>
                      </a:cubicBezTo>
                      <a:cubicBezTo>
                        <a:pt x="16" y="32"/>
                        <a:pt x="8" y="30"/>
                        <a:pt x="4" y="23"/>
                      </a:cubicBezTo>
                      <a:cubicBezTo>
                        <a:pt x="0" y="17"/>
                        <a:pt x="2" y="8"/>
                        <a:pt x="9" y="4"/>
                      </a:cubicBezTo>
                      <a:cubicBezTo>
                        <a:pt x="16" y="0"/>
                        <a:pt x="24" y="3"/>
                        <a:pt x="28" y="9"/>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02" name="Freeform 118"/>
                <p:cNvSpPr>
                  <a:spLocks/>
                </p:cNvSpPr>
                <p:nvPr/>
              </p:nvSpPr>
              <p:spPr bwMode="auto">
                <a:xfrm>
                  <a:off x="4065588" y="-77788"/>
                  <a:ext cx="101600" cy="101600"/>
                </a:xfrm>
                <a:custGeom>
                  <a:avLst/>
                  <a:gdLst>
                    <a:gd name="T0" fmla="*/ 29 w 32"/>
                    <a:gd name="T1" fmla="*/ 9 h 32"/>
                    <a:gd name="T2" fmla="*/ 23 w 32"/>
                    <a:gd name="T3" fmla="*/ 28 h 32"/>
                    <a:gd name="T4" fmla="*/ 4 w 32"/>
                    <a:gd name="T5" fmla="*/ 23 h 32"/>
                    <a:gd name="T6" fmla="*/ 9 w 32"/>
                    <a:gd name="T7" fmla="*/ 4 h 32"/>
                    <a:gd name="T8" fmla="*/ 29 w 32"/>
                    <a:gd name="T9" fmla="*/ 9 h 32"/>
                  </a:gdLst>
                  <a:ahLst/>
                  <a:cxnLst>
                    <a:cxn ang="0">
                      <a:pos x="T0" y="T1"/>
                    </a:cxn>
                    <a:cxn ang="0">
                      <a:pos x="T2" y="T3"/>
                    </a:cxn>
                    <a:cxn ang="0">
                      <a:pos x="T4" y="T5"/>
                    </a:cxn>
                    <a:cxn ang="0">
                      <a:pos x="T6" y="T7"/>
                    </a:cxn>
                    <a:cxn ang="0">
                      <a:pos x="T8" y="T9"/>
                    </a:cxn>
                  </a:cxnLst>
                  <a:rect l="0" t="0" r="r" b="b"/>
                  <a:pathLst>
                    <a:path w="32" h="32">
                      <a:moveTo>
                        <a:pt x="29" y="9"/>
                      </a:moveTo>
                      <a:cubicBezTo>
                        <a:pt x="32" y="16"/>
                        <a:pt x="30" y="25"/>
                        <a:pt x="23" y="28"/>
                      </a:cubicBezTo>
                      <a:cubicBezTo>
                        <a:pt x="17" y="32"/>
                        <a:pt x="8" y="30"/>
                        <a:pt x="4" y="23"/>
                      </a:cubicBezTo>
                      <a:cubicBezTo>
                        <a:pt x="0" y="17"/>
                        <a:pt x="3" y="8"/>
                        <a:pt x="9" y="4"/>
                      </a:cubicBezTo>
                      <a:cubicBezTo>
                        <a:pt x="16" y="0"/>
                        <a:pt x="25" y="3"/>
                        <a:pt x="29"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03" name="Freeform 119"/>
                <p:cNvSpPr>
                  <a:spLocks/>
                </p:cNvSpPr>
                <p:nvPr/>
              </p:nvSpPr>
              <p:spPr bwMode="auto">
                <a:xfrm>
                  <a:off x="4065588" y="265112"/>
                  <a:ext cx="101600" cy="101600"/>
                </a:xfrm>
                <a:custGeom>
                  <a:avLst/>
                  <a:gdLst>
                    <a:gd name="T0" fmla="*/ 29 w 32"/>
                    <a:gd name="T1" fmla="*/ 9 h 32"/>
                    <a:gd name="T2" fmla="*/ 23 w 32"/>
                    <a:gd name="T3" fmla="*/ 28 h 32"/>
                    <a:gd name="T4" fmla="*/ 4 w 32"/>
                    <a:gd name="T5" fmla="*/ 23 h 32"/>
                    <a:gd name="T6" fmla="*/ 9 w 32"/>
                    <a:gd name="T7" fmla="*/ 4 h 32"/>
                    <a:gd name="T8" fmla="*/ 29 w 32"/>
                    <a:gd name="T9" fmla="*/ 9 h 32"/>
                  </a:gdLst>
                  <a:ahLst/>
                  <a:cxnLst>
                    <a:cxn ang="0">
                      <a:pos x="T0" y="T1"/>
                    </a:cxn>
                    <a:cxn ang="0">
                      <a:pos x="T2" y="T3"/>
                    </a:cxn>
                    <a:cxn ang="0">
                      <a:pos x="T4" y="T5"/>
                    </a:cxn>
                    <a:cxn ang="0">
                      <a:pos x="T6" y="T7"/>
                    </a:cxn>
                    <a:cxn ang="0">
                      <a:pos x="T8" y="T9"/>
                    </a:cxn>
                  </a:cxnLst>
                  <a:rect l="0" t="0" r="r" b="b"/>
                  <a:pathLst>
                    <a:path w="32" h="32">
                      <a:moveTo>
                        <a:pt x="29" y="9"/>
                      </a:moveTo>
                      <a:cubicBezTo>
                        <a:pt x="32" y="16"/>
                        <a:pt x="30" y="25"/>
                        <a:pt x="23" y="28"/>
                      </a:cubicBezTo>
                      <a:cubicBezTo>
                        <a:pt x="17" y="32"/>
                        <a:pt x="8" y="30"/>
                        <a:pt x="4" y="23"/>
                      </a:cubicBezTo>
                      <a:cubicBezTo>
                        <a:pt x="0" y="17"/>
                        <a:pt x="3" y="8"/>
                        <a:pt x="9" y="4"/>
                      </a:cubicBezTo>
                      <a:cubicBezTo>
                        <a:pt x="16" y="0"/>
                        <a:pt x="25" y="3"/>
                        <a:pt x="29" y="9"/>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04" name="Freeform 120"/>
                <p:cNvSpPr>
                  <a:spLocks/>
                </p:cNvSpPr>
                <p:nvPr/>
              </p:nvSpPr>
              <p:spPr bwMode="auto">
                <a:xfrm>
                  <a:off x="3770313" y="436562"/>
                  <a:ext cx="101600" cy="101600"/>
                </a:xfrm>
                <a:custGeom>
                  <a:avLst/>
                  <a:gdLst>
                    <a:gd name="T0" fmla="*/ 28 w 32"/>
                    <a:gd name="T1" fmla="*/ 9 h 32"/>
                    <a:gd name="T2" fmla="*/ 23 w 32"/>
                    <a:gd name="T3" fmla="*/ 28 h 32"/>
                    <a:gd name="T4" fmla="*/ 4 w 32"/>
                    <a:gd name="T5" fmla="*/ 23 h 32"/>
                    <a:gd name="T6" fmla="*/ 9 w 32"/>
                    <a:gd name="T7" fmla="*/ 4 h 32"/>
                    <a:gd name="T8" fmla="*/ 28 w 32"/>
                    <a:gd name="T9" fmla="*/ 9 h 32"/>
                  </a:gdLst>
                  <a:ahLst/>
                  <a:cxnLst>
                    <a:cxn ang="0">
                      <a:pos x="T0" y="T1"/>
                    </a:cxn>
                    <a:cxn ang="0">
                      <a:pos x="T2" y="T3"/>
                    </a:cxn>
                    <a:cxn ang="0">
                      <a:pos x="T4" y="T5"/>
                    </a:cxn>
                    <a:cxn ang="0">
                      <a:pos x="T6" y="T7"/>
                    </a:cxn>
                    <a:cxn ang="0">
                      <a:pos x="T8" y="T9"/>
                    </a:cxn>
                  </a:cxnLst>
                  <a:rect l="0" t="0" r="r" b="b"/>
                  <a:pathLst>
                    <a:path w="32" h="32">
                      <a:moveTo>
                        <a:pt x="28" y="9"/>
                      </a:moveTo>
                      <a:cubicBezTo>
                        <a:pt x="32" y="16"/>
                        <a:pt x="30" y="25"/>
                        <a:pt x="23" y="28"/>
                      </a:cubicBezTo>
                      <a:cubicBezTo>
                        <a:pt x="16" y="32"/>
                        <a:pt x="8" y="30"/>
                        <a:pt x="4" y="23"/>
                      </a:cubicBezTo>
                      <a:cubicBezTo>
                        <a:pt x="0" y="17"/>
                        <a:pt x="2" y="8"/>
                        <a:pt x="9" y="4"/>
                      </a:cubicBezTo>
                      <a:cubicBezTo>
                        <a:pt x="16" y="0"/>
                        <a:pt x="24" y="3"/>
                        <a:pt x="28"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05" name="Freeform 121"/>
                <p:cNvSpPr>
                  <a:spLocks/>
                </p:cNvSpPr>
                <p:nvPr/>
              </p:nvSpPr>
              <p:spPr bwMode="auto">
                <a:xfrm>
                  <a:off x="3470275" y="265112"/>
                  <a:ext cx="103188" cy="101600"/>
                </a:xfrm>
                <a:custGeom>
                  <a:avLst/>
                  <a:gdLst>
                    <a:gd name="T0" fmla="*/ 28 w 32"/>
                    <a:gd name="T1" fmla="*/ 9 h 32"/>
                    <a:gd name="T2" fmla="*/ 23 w 32"/>
                    <a:gd name="T3" fmla="*/ 28 h 32"/>
                    <a:gd name="T4" fmla="*/ 4 w 32"/>
                    <a:gd name="T5" fmla="*/ 23 h 32"/>
                    <a:gd name="T6" fmla="*/ 9 w 32"/>
                    <a:gd name="T7" fmla="*/ 4 h 32"/>
                    <a:gd name="T8" fmla="*/ 28 w 32"/>
                    <a:gd name="T9" fmla="*/ 9 h 32"/>
                  </a:gdLst>
                  <a:ahLst/>
                  <a:cxnLst>
                    <a:cxn ang="0">
                      <a:pos x="T0" y="T1"/>
                    </a:cxn>
                    <a:cxn ang="0">
                      <a:pos x="T2" y="T3"/>
                    </a:cxn>
                    <a:cxn ang="0">
                      <a:pos x="T4" y="T5"/>
                    </a:cxn>
                    <a:cxn ang="0">
                      <a:pos x="T6" y="T7"/>
                    </a:cxn>
                    <a:cxn ang="0">
                      <a:pos x="T8" y="T9"/>
                    </a:cxn>
                  </a:cxnLst>
                  <a:rect l="0" t="0" r="r" b="b"/>
                  <a:pathLst>
                    <a:path w="32" h="32">
                      <a:moveTo>
                        <a:pt x="28" y="9"/>
                      </a:moveTo>
                      <a:cubicBezTo>
                        <a:pt x="32" y="16"/>
                        <a:pt x="30" y="25"/>
                        <a:pt x="23" y="28"/>
                      </a:cubicBezTo>
                      <a:cubicBezTo>
                        <a:pt x="17" y="32"/>
                        <a:pt x="8" y="30"/>
                        <a:pt x="4" y="23"/>
                      </a:cubicBezTo>
                      <a:cubicBezTo>
                        <a:pt x="0" y="17"/>
                        <a:pt x="3" y="8"/>
                        <a:pt x="9" y="4"/>
                      </a:cubicBezTo>
                      <a:cubicBezTo>
                        <a:pt x="16" y="0"/>
                        <a:pt x="25" y="3"/>
                        <a:pt x="28" y="9"/>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06" name="Freeform 122"/>
                <p:cNvSpPr>
                  <a:spLocks/>
                </p:cNvSpPr>
                <p:nvPr/>
              </p:nvSpPr>
              <p:spPr bwMode="auto">
                <a:xfrm>
                  <a:off x="3608388" y="-71438"/>
                  <a:ext cx="60325" cy="174625"/>
                </a:xfrm>
                <a:custGeom>
                  <a:avLst/>
                  <a:gdLst>
                    <a:gd name="T0" fmla="*/ 38 w 38"/>
                    <a:gd name="T1" fmla="*/ 108 h 110"/>
                    <a:gd name="T2" fmla="*/ 34 w 38"/>
                    <a:gd name="T3" fmla="*/ 110 h 110"/>
                    <a:gd name="T4" fmla="*/ 0 w 38"/>
                    <a:gd name="T5" fmla="*/ 0 h 110"/>
                    <a:gd name="T6" fmla="*/ 6 w 38"/>
                    <a:gd name="T7" fmla="*/ 0 h 110"/>
                    <a:gd name="T8" fmla="*/ 38 w 38"/>
                    <a:gd name="T9" fmla="*/ 108 h 110"/>
                  </a:gdLst>
                  <a:ahLst/>
                  <a:cxnLst>
                    <a:cxn ang="0">
                      <a:pos x="T0" y="T1"/>
                    </a:cxn>
                    <a:cxn ang="0">
                      <a:pos x="T2" y="T3"/>
                    </a:cxn>
                    <a:cxn ang="0">
                      <a:pos x="T4" y="T5"/>
                    </a:cxn>
                    <a:cxn ang="0">
                      <a:pos x="T6" y="T7"/>
                    </a:cxn>
                    <a:cxn ang="0">
                      <a:pos x="T8" y="T9"/>
                    </a:cxn>
                  </a:cxnLst>
                  <a:rect l="0" t="0" r="r" b="b"/>
                  <a:pathLst>
                    <a:path w="38" h="110">
                      <a:moveTo>
                        <a:pt x="38" y="108"/>
                      </a:moveTo>
                      <a:lnTo>
                        <a:pt x="34" y="110"/>
                      </a:lnTo>
                      <a:lnTo>
                        <a:pt x="0" y="0"/>
                      </a:lnTo>
                      <a:lnTo>
                        <a:pt x="6" y="0"/>
                      </a:lnTo>
                      <a:lnTo>
                        <a:pt x="38"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07" name="Freeform 123"/>
                <p:cNvSpPr>
                  <a:spLocks/>
                </p:cNvSpPr>
                <p:nvPr/>
              </p:nvSpPr>
              <p:spPr bwMode="auto">
                <a:xfrm>
                  <a:off x="3630613" y="-77788"/>
                  <a:ext cx="60325" cy="174625"/>
                </a:xfrm>
                <a:custGeom>
                  <a:avLst/>
                  <a:gdLst>
                    <a:gd name="T0" fmla="*/ 38 w 38"/>
                    <a:gd name="T1" fmla="*/ 108 h 110"/>
                    <a:gd name="T2" fmla="*/ 32 w 38"/>
                    <a:gd name="T3" fmla="*/ 110 h 110"/>
                    <a:gd name="T4" fmla="*/ 0 w 38"/>
                    <a:gd name="T5" fmla="*/ 0 h 110"/>
                    <a:gd name="T6" fmla="*/ 4 w 38"/>
                    <a:gd name="T7" fmla="*/ 0 h 110"/>
                    <a:gd name="T8" fmla="*/ 38 w 38"/>
                    <a:gd name="T9" fmla="*/ 108 h 110"/>
                  </a:gdLst>
                  <a:ahLst/>
                  <a:cxnLst>
                    <a:cxn ang="0">
                      <a:pos x="T0" y="T1"/>
                    </a:cxn>
                    <a:cxn ang="0">
                      <a:pos x="T2" y="T3"/>
                    </a:cxn>
                    <a:cxn ang="0">
                      <a:pos x="T4" y="T5"/>
                    </a:cxn>
                    <a:cxn ang="0">
                      <a:pos x="T6" y="T7"/>
                    </a:cxn>
                    <a:cxn ang="0">
                      <a:pos x="T8" y="T9"/>
                    </a:cxn>
                  </a:cxnLst>
                  <a:rect l="0" t="0" r="r" b="b"/>
                  <a:pathLst>
                    <a:path w="38" h="110">
                      <a:moveTo>
                        <a:pt x="38" y="108"/>
                      </a:moveTo>
                      <a:lnTo>
                        <a:pt x="32" y="110"/>
                      </a:lnTo>
                      <a:lnTo>
                        <a:pt x="0" y="0"/>
                      </a:lnTo>
                      <a:lnTo>
                        <a:pt x="4" y="0"/>
                      </a:lnTo>
                      <a:lnTo>
                        <a:pt x="38"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08" name="Freeform 124"/>
                <p:cNvSpPr>
                  <a:spLocks/>
                </p:cNvSpPr>
                <p:nvPr/>
              </p:nvSpPr>
              <p:spPr bwMode="auto">
                <a:xfrm>
                  <a:off x="3567113" y="207962"/>
                  <a:ext cx="158750" cy="98425"/>
                </a:xfrm>
                <a:custGeom>
                  <a:avLst/>
                  <a:gdLst>
                    <a:gd name="T0" fmla="*/ 98 w 100"/>
                    <a:gd name="T1" fmla="*/ 62 h 62"/>
                    <a:gd name="T2" fmla="*/ 0 w 100"/>
                    <a:gd name="T3" fmla="*/ 4 h 62"/>
                    <a:gd name="T4" fmla="*/ 2 w 100"/>
                    <a:gd name="T5" fmla="*/ 0 h 62"/>
                    <a:gd name="T6" fmla="*/ 100 w 100"/>
                    <a:gd name="T7" fmla="*/ 56 h 62"/>
                    <a:gd name="T8" fmla="*/ 98 w 100"/>
                    <a:gd name="T9" fmla="*/ 62 h 62"/>
                  </a:gdLst>
                  <a:ahLst/>
                  <a:cxnLst>
                    <a:cxn ang="0">
                      <a:pos x="T0" y="T1"/>
                    </a:cxn>
                    <a:cxn ang="0">
                      <a:pos x="T2" y="T3"/>
                    </a:cxn>
                    <a:cxn ang="0">
                      <a:pos x="T4" y="T5"/>
                    </a:cxn>
                    <a:cxn ang="0">
                      <a:pos x="T6" y="T7"/>
                    </a:cxn>
                    <a:cxn ang="0">
                      <a:pos x="T8" y="T9"/>
                    </a:cxn>
                  </a:cxnLst>
                  <a:rect l="0" t="0" r="r" b="b"/>
                  <a:pathLst>
                    <a:path w="100" h="62">
                      <a:moveTo>
                        <a:pt x="98" y="62"/>
                      </a:moveTo>
                      <a:lnTo>
                        <a:pt x="0" y="4"/>
                      </a:lnTo>
                      <a:lnTo>
                        <a:pt x="2" y="0"/>
                      </a:lnTo>
                      <a:lnTo>
                        <a:pt x="100" y="56"/>
                      </a:lnTo>
                      <a:lnTo>
                        <a:pt x="98"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09" name="Freeform 125"/>
                <p:cNvSpPr>
                  <a:spLocks/>
                </p:cNvSpPr>
                <p:nvPr/>
              </p:nvSpPr>
              <p:spPr bwMode="auto">
                <a:xfrm>
                  <a:off x="3576638" y="188912"/>
                  <a:ext cx="161925" cy="98425"/>
                </a:xfrm>
                <a:custGeom>
                  <a:avLst/>
                  <a:gdLst>
                    <a:gd name="T0" fmla="*/ 98 w 102"/>
                    <a:gd name="T1" fmla="*/ 62 h 62"/>
                    <a:gd name="T2" fmla="*/ 0 w 102"/>
                    <a:gd name="T3" fmla="*/ 4 h 62"/>
                    <a:gd name="T4" fmla="*/ 4 w 102"/>
                    <a:gd name="T5" fmla="*/ 0 h 62"/>
                    <a:gd name="T6" fmla="*/ 102 w 102"/>
                    <a:gd name="T7" fmla="*/ 56 h 62"/>
                    <a:gd name="T8" fmla="*/ 98 w 102"/>
                    <a:gd name="T9" fmla="*/ 62 h 62"/>
                  </a:gdLst>
                  <a:ahLst/>
                  <a:cxnLst>
                    <a:cxn ang="0">
                      <a:pos x="T0" y="T1"/>
                    </a:cxn>
                    <a:cxn ang="0">
                      <a:pos x="T2" y="T3"/>
                    </a:cxn>
                    <a:cxn ang="0">
                      <a:pos x="T4" y="T5"/>
                    </a:cxn>
                    <a:cxn ang="0">
                      <a:pos x="T6" y="T7"/>
                    </a:cxn>
                    <a:cxn ang="0">
                      <a:pos x="T8" y="T9"/>
                    </a:cxn>
                  </a:cxnLst>
                  <a:rect l="0" t="0" r="r" b="b"/>
                  <a:pathLst>
                    <a:path w="102" h="62">
                      <a:moveTo>
                        <a:pt x="98" y="62"/>
                      </a:moveTo>
                      <a:lnTo>
                        <a:pt x="0" y="4"/>
                      </a:lnTo>
                      <a:lnTo>
                        <a:pt x="4" y="0"/>
                      </a:lnTo>
                      <a:lnTo>
                        <a:pt x="102" y="56"/>
                      </a:lnTo>
                      <a:lnTo>
                        <a:pt x="98"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10" name="Freeform 126"/>
                <p:cNvSpPr>
                  <a:spLocks/>
                </p:cNvSpPr>
                <p:nvPr/>
              </p:nvSpPr>
              <p:spPr bwMode="auto">
                <a:xfrm>
                  <a:off x="3684588" y="-141288"/>
                  <a:ext cx="73025" cy="215900"/>
                </a:xfrm>
                <a:custGeom>
                  <a:avLst/>
                  <a:gdLst>
                    <a:gd name="T0" fmla="*/ 46 w 46"/>
                    <a:gd name="T1" fmla="*/ 134 h 136"/>
                    <a:gd name="T2" fmla="*/ 42 w 46"/>
                    <a:gd name="T3" fmla="*/ 136 h 136"/>
                    <a:gd name="T4" fmla="*/ 0 w 46"/>
                    <a:gd name="T5" fmla="*/ 2 h 136"/>
                    <a:gd name="T6" fmla="*/ 6 w 46"/>
                    <a:gd name="T7" fmla="*/ 0 h 136"/>
                    <a:gd name="T8" fmla="*/ 46 w 46"/>
                    <a:gd name="T9" fmla="*/ 134 h 136"/>
                  </a:gdLst>
                  <a:ahLst/>
                  <a:cxnLst>
                    <a:cxn ang="0">
                      <a:pos x="T0" y="T1"/>
                    </a:cxn>
                    <a:cxn ang="0">
                      <a:pos x="T2" y="T3"/>
                    </a:cxn>
                    <a:cxn ang="0">
                      <a:pos x="T4" y="T5"/>
                    </a:cxn>
                    <a:cxn ang="0">
                      <a:pos x="T6" y="T7"/>
                    </a:cxn>
                    <a:cxn ang="0">
                      <a:pos x="T8" y="T9"/>
                    </a:cxn>
                  </a:cxnLst>
                  <a:rect l="0" t="0" r="r" b="b"/>
                  <a:pathLst>
                    <a:path w="46" h="136">
                      <a:moveTo>
                        <a:pt x="46" y="134"/>
                      </a:moveTo>
                      <a:lnTo>
                        <a:pt x="42" y="136"/>
                      </a:lnTo>
                      <a:lnTo>
                        <a:pt x="0" y="2"/>
                      </a:lnTo>
                      <a:lnTo>
                        <a:pt x="6" y="0"/>
                      </a:lnTo>
                      <a:lnTo>
                        <a:pt x="46" y="1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11" name="Freeform 127"/>
                <p:cNvSpPr>
                  <a:spLocks/>
                </p:cNvSpPr>
                <p:nvPr/>
              </p:nvSpPr>
              <p:spPr bwMode="auto">
                <a:xfrm>
                  <a:off x="3706813" y="-147638"/>
                  <a:ext cx="73025" cy="215900"/>
                </a:xfrm>
                <a:custGeom>
                  <a:avLst/>
                  <a:gdLst>
                    <a:gd name="T0" fmla="*/ 46 w 46"/>
                    <a:gd name="T1" fmla="*/ 134 h 136"/>
                    <a:gd name="T2" fmla="*/ 40 w 46"/>
                    <a:gd name="T3" fmla="*/ 136 h 136"/>
                    <a:gd name="T4" fmla="*/ 0 w 46"/>
                    <a:gd name="T5" fmla="*/ 2 h 136"/>
                    <a:gd name="T6" fmla="*/ 4 w 46"/>
                    <a:gd name="T7" fmla="*/ 0 h 136"/>
                    <a:gd name="T8" fmla="*/ 46 w 46"/>
                    <a:gd name="T9" fmla="*/ 134 h 136"/>
                  </a:gdLst>
                  <a:ahLst/>
                  <a:cxnLst>
                    <a:cxn ang="0">
                      <a:pos x="T0" y="T1"/>
                    </a:cxn>
                    <a:cxn ang="0">
                      <a:pos x="T2" y="T3"/>
                    </a:cxn>
                    <a:cxn ang="0">
                      <a:pos x="T4" y="T5"/>
                    </a:cxn>
                    <a:cxn ang="0">
                      <a:pos x="T6" y="T7"/>
                    </a:cxn>
                    <a:cxn ang="0">
                      <a:pos x="T8" y="T9"/>
                    </a:cxn>
                  </a:cxnLst>
                  <a:rect l="0" t="0" r="r" b="b"/>
                  <a:pathLst>
                    <a:path w="46" h="136">
                      <a:moveTo>
                        <a:pt x="46" y="134"/>
                      </a:moveTo>
                      <a:lnTo>
                        <a:pt x="40" y="136"/>
                      </a:lnTo>
                      <a:lnTo>
                        <a:pt x="0" y="2"/>
                      </a:lnTo>
                      <a:lnTo>
                        <a:pt x="4" y="0"/>
                      </a:lnTo>
                      <a:lnTo>
                        <a:pt x="46" y="1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12" name="Freeform 128"/>
                <p:cNvSpPr>
                  <a:spLocks/>
                </p:cNvSpPr>
                <p:nvPr/>
              </p:nvSpPr>
              <p:spPr bwMode="auto">
                <a:xfrm>
                  <a:off x="3779838" y="-125413"/>
                  <a:ext cx="60325" cy="174625"/>
                </a:xfrm>
                <a:custGeom>
                  <a:avLst/>
                  <a:gdLst>
                    <a:gd name="T0" fmla="*/ 38 w 38"/>
                    <a:gd name="T1" fmla="*/ 108 h 110"/>
                    <a:gd name="T2" fmla="*/ 34 w 38"/>
                    <a:gd name="T3" fmla="*/ 110 h 110"/>
                    <a:gd name="T4" fmla="*/ 0 w 38"/>
                    <a:gd name="T5" fmla="*/ 2 h 110"/>
                    <a:gd name="T6" fmla="*/ 6 w 38"/>
                    <a:gd name="T7" fmla="*/ 0 h 110"/>
                    <a:gd name="T8" fmla="*/ 38 w 38"/>
                    <a:gd name="T9" fmla="*/ 108 h 110"/>
                  </a:gdLst>
                  <a:ahLst/>
                  <a:cxnLst>
                    <a:cxn ang="0">
                      <a:pos x="T0" y="T1"/>
                    </a:cxn>
                    <a:cxn ang="0">
                      <a:pos x="T2" y="T3"/>
                    </a:cxn>
                    <a:cxn ang="0">
                      <a:pos x="T4" y="T5"/>
                    </a:cxn>
                    <a:cxn ang="0">
                      <a:pos x="T6" y="T7"/>
                    </a:cxn>
                    <a:cxn ang="0">
                      <a:pos x="T8" y="T9"/>
                    </a:cxn>
                  </a:cxnLst>
                  <a:rect l="0" t="0" r="r" b="b"/>
                  <a:pathLst>
                    <a:path w="38" h="110">
                      <a:moveTo>
                        <a:pt x="38" y="108"/>
                      </a:moveTo>
                      <a:lnTo>
                        <a:pt x="34" y="110"/>
                      </a:lnTo>
                      <a:lnTo>
                        <a:pt x="0" y="2"/>
                      </a:lnTo>
                      <a:lnTo>
                        <a:pt x="6" y="0"/>
                      </a:lnTo>
                      <a:lnTo>
                        <a:pt x="38"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13" name="Freeform 129"/>
                <p:cNvSpPr>
                  <a:spLocks/>
                </p:cNvSpPr>
                <p:nvPr/>
              </p:nvSpPr>
              <p:spPr bwMode="auto">
                <a:xfrm>
                  <a:off x="3802063" y="-131763"/>
                  <a:ext cx="60325" cy="174625"/>
                </a:xfrm>
                <a:custGeom>
                  <a:avLst/>
                  <a:gdLst>
                    <a:gd name="T0" fmla="*/ 38 w 38"/>
                    <a:gd name="T1" fmla="*/ 108 h 110"/>
                    <a:gd name="T2" fmla="*/ 34 w 38"/>
                    <a:gd name="T3" fmla="*/ 110 h 110"/>
                    <a:gd name="T4" fmla="*/ 0 w 38"/>
                    <a:gd name="T5" fmla="*/ 2 h 110"/>
                    <a:gd name="T6" fmla="*/ 4 w 38"/>
                    <a:gd name="T7" fmla="*/ 0 h 110"/>
                    <a:gd name="T8" fmla="*/ 38 w 38"/>
                    <a:gd name="T9" fmla="*/ 108 h 110"/>
                  </a:gdLst>
                  <a:ahLst/>
                  <a:cxnLst>
                    <a:cxn ang="0">
                      <a:pos x="T0" y="T1"/>
                    </a:cxn>
                    <a:cxn ang="0">
                      <a:pos x="T2" y="T3"/>
                    </a:cxn>
                    <a:cxn ang="0">
                      <a:pos x="T4" y="T5"/>
                    </a:cxn>
                    <a:cxn ang="0">
                      <a:pos x="T6" y="T7"/>
                    </a:cxn>
                    <a:cxn ang="0">
                      <a:pos x="T8" y="T9"/>
                    </a:cxn>
                  </a:cxnLst>
                  <a:rect l="0" t="0" r="r" b="b"/>
                  <a:pathLst>
                    <a:path w="38" h="110">
                      <a:moveTo>
                        <a:pt x="38" y="108"/>
                      </a:moveTo>
                      <a:lnTo>
                        <a:pt x="34" y="110"/>
                      </a:lnTo>
                      <a:lnTo>
                        <a:pt x="0" y="2"/>
                      </a:lnTo>
                      <a:lnTo>
                        <a:pt x="4" y="0"/>
                      </a:lnTo>
                      <a:lnTo>
                        <a:pt x="38"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14" name="Freeform 130"/>
                <p:cNvSpPr>
                  <a:spLocks/>
                </p:cNvSpPr>
                <p:nvPr/>
              </p:nvSpPr>
              <p:spPr bwMode="auto">
                <a:xfrm>
                  <a:off x="3871913" y="-90488"/>
                  <a:ext cx="44450" cy="117475"/>
                </a:xfrm>
                <a:custGeom>
                  <a:avLst/>
                  <a:gdLst>
                    <a:gd name="T0" fmla="*/ 28 w 28"/>
                    <a:gd name="T1" fmla="*/ 72 h 74"/>
                    <a:gd name="T2" fmla="*/ 22 w 28"/>
                    <a:gd name="T3" fmla="*/ 74 h 74"/>
                    <a:gd name="T4" fmla="*/ 0 w 28"/>
                    <a:gd name="T5" fmla="*/ 2 h 74"/>
                    <a:gd name="T6" fmla="*/ 4 w 28"/>
                    <a:gd name="T7" fmla="*/ 0 h 74"/>
                    <a:gd name="T8" fmla="*/ 28 w 28"/>
                    <a:gd name="T9" fmla="*/ 72 h 74"/>
                  </a:gdLst>
                  <a:ahLst/>
                  <a:cxnLst>
                    <a:cxn ang="0">
                      <a:pos x="T0" y="T1"/>
                    </a:cxn>
                    <a:cxn ang="0">
                      <a:pos x="T2" y="T3"/>
                    </a:cxn>
                    <a:cxn ang="0">
                      <a:pos x="T4" y="T5"/>
                    </a:cxn>
                    <a:cxn ang="0">
                      <a:pos x="T6" y="T7"/>
                    </a:cxn>
                    <a:cxn ang="0">
                      <a:pos x="T8" y="T9"/>
                    </a:cxn>
                  </a:cxnLst>
                  <a:rect l="0" t="0" r="r" b="b"/>
                  <a:pathLst>
                    <a:path w="28" h="74">
                      <a:moveTo>
                        <a:pt x="28" y="72"/>
                      </a:moveTo>
                      <a:lnTo>
                        <a:pt x="22" y="74"/>
                      </a:lnTo>
                      <a:lnTo>
                        <a:pt x="0" y="2"/>
                      </a:lnTo>
                      <a:lnTo>
                        <a:pt x="4" y="0"/>
                      </a:lnTo>
                      <a:lnTo>
                        <a:pt x="28"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15" name="Freeform 131"/>
                <p:cNvSpPr>
                  <a:spLocks/>
                </p:cNvSpPr>
                <p:nvPr/>
              </p:nvSpPr>
              <p:spPr bwMode="auto">
                <a:xfrm>
                  <a:off x="3894138" y="-96838"/>
                  <a:ext cx="41275" cy="117475"/>
                </a:xfrm>
                <a:custGeom>
                  <a:avLst/>
                  <a:gdLst>
                    <a:gd name="T0" fmla="*/ 26 w 26"/>
                    <a:gd name="T1" fmla="*/ 72 h 74"/>
                    <a:gd name="T2" fmla="*/ 22 w 26"/>
                    <a:gd name="T3" fmla="*/ 74 h 74"/>
                    <a:gd name="T4" fmla="*/ 0 w 26"/>
                    <a:gd name="T5" fmla="*/ 2 h 74"/>
                    <a:gd name="T6" fmla="*/ 4 w 26"/>
                    <a:gd name="T7" fmla="*/ 0 h 74"/>
                    <a:gd name="T8" fmla="*/ 26 w 26"/>
                    <a:gd name="T9" fmla="*/ 72 h 74"/>
                  </a:gdLst>
                  <a:ahLst/>
                  <a:cxnLst>
                    <a:cxn ang="0">
                      <a:pos x="T0" y="T1"/>
                    </a:cxn>
                    <a:cxn ang="0">
                      <a:pos x="T2" y="T3"/>
                    </a:cxn>
                    <a:cxn ang="0">
                      <a:pos x="T4" y="T5"/>
                    </a:cxn>
                    <a:cxn ang="0">
                      <a:pos x="T6" y="T7"/>
                    </a:cxn>
                    <a:cxn ang="0">
                      <a:pos x="T8" y="T9"/>
                    </a:cxn>
                  </a:cxnLst>
                  <a:rect l="0" t="0" r="r" b="b"/>
                  <a:pathLst>
                    <a:path w="26" h="74">
                      <a:moveTo>
                        <a:pt x="26" y="72"/>
                      </a:moveTo>
                      <a:lnTo>
                        <a:pt x="22" y="74"/>
                      </a:lnTo>
                      <a:lnTo>
                        <a:pt x="0" y="2"/>
                      </a:lnTo>
                      <a:lnTo>
                        <a:pt x="4" y="0"/>
                      </a:lnTo>
                      <a:lnTo>
                        <a:pt x="26"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16" name="Freeform 132"/>
                <p:cNvSpPr>
                  <a:spLocks/>
                </p:cNvSpPr>
                <p:nvPr/>
              </p:nvSpPr>
              <p:spPr bwMode="auto">
                <a:xfrm>
                  <a:off x="3690938" y="109537"/>
                  <a:ext cx="336550" cy="298450"/>
                </a:xfrm>
                <a:custGeom>
                  <a:avLst/>
                  <a:gdLst>
                    <a:gd name="T0" fmla="*/ 172 w 212"/>
                    <a:gd name="T1" fmla="*/ 0 h 188"/>
                    <a:gd name="T2" fmla="*/ 0 w 212"/>
                    <a:gd name="T3" fmla="*/ 54 h 188"/>
                    <a:gd name="T4" fmla="*/ 40 w 212"/>
                    <a:gd name="T5" fmla="*/ 188 h 188"/>
                    <a:gd name="T6" fmla="*/ 212 w 212"/>
                    <a:gd name="T7" fmla="*/ 136 h 188"/>
                    <a:gd name="T8" fmla="*/ 172 w 212"/>
                    <a:gd name="T9" fmla="*/ 0 h 188"/>
                  </a:gdLst>
                  <a:ahLst/>
                  <a:cxnLst>
                    <a:cxn ang="0">
                      <a:pos x="T0" y="T1"/>
                    </a:cxn>
                    <a:cxn ang="0">
                      <a:pos x="T2" y="T3"/>
                    </a:cxn>
                    <a:cxn ang="0">
                      <a:pos x="T4" y="T5"/>
                    </a:cxn>
                    <a:cxn ang="0">
                      <a:pos x="T6" y="T7"/>
                    </a:cxn>
                    <a:cxn ang="0">
                      <a:pos x="T8" y="T9"/>
                    </a:cxn>
                  </a:cxnLst>
                  <a:rect l="0" t="0" r="r" b="b"/>
                  <a:pathLst>
                    <a:path w="212" h="188">
                      <a:moveTo>
                        <a:pt x="172" y="0"/>
                      </a:moveTo>
                      <a:lnTo>
                        <a:pt x="0" y="54"/>
                      </a:lnTo>
                      <a:lnTo>
                        <a:pt x="40" y="188"/>
                      </a:lnTo>
                      <a:lnTo>
                        <a:pt x="212" y="136"/>
                      </a:lnTo>
                      <a:lnTo>
                        <a:pt x="17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17" name="Freeform 133"/>
                <p:cNvSpPr>
                  <a:spLocks/>
                </p:cNvSpPr>
                <p:nvPr/>
              </p:nvSpPr>
              <p:spPr bwMode="auto">
                <a:xfrm>
                  <a:off x="3779838" y="360362"/>
                  <a:ext cx="254000" cy="104775"/>
                </a:xfrm>
                <a:custGeom>
                  <a:avLst/>
                  <a:gdLst>
                    <a:gd name="T0" fmla="*/ 154 w 160"/>
                    <a:gd name="T1" fmla="*/ 0 h 66"/>
                    <a:gd name="T2" fmla="*/ 0 w 160"/>
                    <a:gd name="T3" fmla="*/ 48 h 66"/>
                    <a:gd name="T4" fmla="*/ 6 w 160"/>
                    <a:gd name="T5" fmla="*/ 66 h 66"/>
                    <a:gd name="T6" fmla="*/ 160 w 160"/>
                    <a:gd name="T7" fmla="*/ 20 h 66"/>
                    <a:gd name="T8" fmla="*/ 154 w 160"/>
                    <a:gd name="T9" fmla="*/ 0 h 66"/>
                  </a:gdLst>
                  <a:ahLst/>
                  <a:cxnLst>
                    <a:cxn ang="0">
                      <a:pos x="T0" y="T1"/>
                    </a:cxn>
                    <a:cxn ang="0">
                      <a:pos x="T2" y="T3"/>
                    </a:cxn>
                    <a:cxn ang="0">
                      <a:pos x="T4" y="T5"/>
                    </a:cxn>
                    <a:cxn ang="0">
                      <a:pos x="T6" y="T7"/>
                    </a:cxn>
                    <a:cxn ang="0">
                      <a:pos x="T8" y="T9"/>
                    </a:cxn>
                  </a:cxnLst>
                  <a:rect l="0" t="0" r="r" b="b"/>
                  <a:pathLst>
                    <a:path w="160" h="66">
                      <a:moveTo>
                        <a:pt x="154" y="0"/>
                      </a:moveTo>
                      <a:lnTo>
                        <a:pt x="0" y="48"/>
                      </a:lnTo>
                      <a:lnTo>
                        <a:pt x="6" y="66"/>
                      </a:lnTo>
                      <a:lnTo>
                        <a:pt x="160" y="20"/>
                      </a:lnTo>
                      <a:lnTo>
                        <a:pt x="154" y="0"/>
                      </a:lnTo>
                      <a:close/>
                    </a:path>
                  </a:pathLst>
                </a:custGeom>
                <a:solidFill>
                  <a:srgbClr val="9C9D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18" name="Freeform 134"/>
                <p:cNvSpPr>
                  <a:spLocks noEditPoints="1"/>
                </p:cNvSpPr>
                <p:nvPr/>
              </p:nvSpPr>
              <p:spPr bwMode="auto">
                <a:xfrm>
                  <a:off x="3735388" y="315912"/>
                  <a:ext cx="323850" cy="133350"/>
                </a:xfrm>
                <a:custGeom>
                  <a:avLst/>
                  <a:gdLst>
                    <a:gd name="T0" fmla="*/ 204 w 204"/>
                    <a:gd name="T1" fmla="*/ 24 h 84"/>
                    <a:gd name="T2" fmla="*/ 8 w 204"/>
                    <a:gd name="T3" fmla="*/ 84 h 84"/>
                    <a:gd name="T4" fmla="*/ 0 w 204"/>
                    <a:gd name="T5" fmla="*/ 60 h 84"/>
                    <a:gd name="T6" fmla="*/ 196 w 204"/>
                    <a:gd name="T7" fmla="*/ 0 h 84"/>
                    <a:gd name="T8" fmla="*/ 204 w 204"/>
                    <a:gd name="T9" fmla="*/ 24 h 84"/>
                    <a:gd name="T10" fmla="*/ 12 w 204"/>
                    <a:gd name="T11" fmla="*/ 78 h 84"/>
                    <a:gd name="T12" fmla="*/ 196 w 204"/>
                    <a:gd name="T13" fmla="*/ 20 h 84"/>
                    <a:gd name="T14" fmla="*/ 192 w 204"/>
                    <a:gd name="T15" fmla="*/ 6 h 84"/>
                    <a:gd name="T16" fmla="*/ 6 w 204"/>
                    <a:gd name="T17" fmla="*/ 64 h 84"/>
                    <a:gd name="T18" fmla="*/ 12 w 204"/>
                    <a:gd name="T19" fmla="*/ 7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 h="84">
                      <a:moveTo>
                        <a:pt x="204" y="24"/>
                      </a:moveTo>
                      <a:lnTo>
                        <a:pt x="8" y="84"/>
                      </a:lnTo>
                      <a:lnTo>
                        <a:pt x="0" y="60"/>
                      </a:lnTo>
                      <a:lnTo>
                        <a:pt x="196" y="0"/>
                      </a:lnTo>
                      <a:lnTo>
                        <a:pt x="204" y="24"/>
                      </a:lnTo>
                      <a:close/>
                      <a:moveTo>
                        <a:pt x="12" y="78"/>
                      </a:moveTo>
                      <a:lnTo>
                        <a:pt x="196" y="20"/>
                      </a:lnTo>
                      <a:lnTo>
                        <a:pt x="192" y="6"/>
                      </a:lnTo>
                      <a:lnTo>
                        <a:pt x="6" y="64"/>
                      </a:lnTo>
                      <a:lnTo>
                        <a:pt x="12"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19" name="Freeform 135"/>
                <p:cNvSpPr>
                  <a:spLocks/>
                </p:cNvSpPr>
                <p:nvPr/>
              </p:nvSpPr>
              <p:spPr bwMode="auto">
                <a:xfrm>
                  <a:off x="3646488" y="65087"/>
                  <a:ext cx="200025" cy="184150"/>
                </a:xfrm>
                <a:custGeom>
                  <a:avLst/>
                  <a:gdLst>
                    <a:gd name="T0" fmla="*/ 126 w 126"/>
                    <a:gd name="T1" fmla="*/ 116 h 116"/>
                    <a:gd name="T2" fmla="*/ 18 w 126"/>
                    <a:gd name="T3" fmla="*/ 88 h 116"/>
                    <a:gd name="T4" fmla="*/ 0 w 126"/>
                    <a:gd name="T5" fmla="*/ 26 h 116"/>
                    <a:gd name="T6" fmla="*/ 90 w 126"/>
                    <a:gd name="T7" fmla="*/ 0 h 116"/>
                    <a:gd name="T8" fmla="*/ 126 w 126"/>
                    <a:gd name="T9" fmla="*/ 116 h 116"/>
                  </a:gdLst>
                  <a:ahLst/>
                  <a:cxnLst>
                    <a:cxn ang="0">
                      <a:pos x="T0" y="T1"/>
                    </a:cxn>
                    <a:cxn ang="0">
                      <a:pos x="T2" y="T3"/>
                    </a:cxn>
                    <a:cxn ang="0">
                      <a:pos x="T4" y="T5"/>
                    </a:cxn>
                    <a:cxn ang="0">
                      <a:pos x="T6" y="T7"/>
                    </a:cxn>
                    <a:cxn ang="0">
                      <a:pos x="T8" y="T9"/>
                    </a:cxn>
                  </a:cxnLst>
                  <a:rect l="0" t="0" r="r" b="b"/>
                  <a:pathLst>
                    <a:path w="126" h="116">
                      <a:moveTo>
                        <a:pt x="126" y="116"/>
                      </a:moveTo>
                      <a:lnTo>
                        <a:pt x="18" y="88"/>
                      </a:lnTo>
                      <a:lnTo>
                        <a:pt x="0" y="26"/>
                      </a:lnTo>
                      <a:lnTo>
                        <a:pt x="90" y="0"/>
                      </a:lnTo>
                      <a:lnTo>
                        <a:pt x="126" y="116"/>
                      </a:lnTo>
                      <a:close/>
                    </a:path>
                  </a:pathLst>
                </a:custGeom>
                <a:solidFill>
                  <a:srgbClr val="9C9D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20" name="Freeform 136"/>
                <p:cNvSpPr>
                  <a:spLocks/>
                </p:cNvSpPr>
                <p:nvPr/>
              </p:nvSpPr>
              <p:spPr bwMode="auto">
                <a:xfrm>
                  <a:off x="3808413" y="14287"/>
                  <a:ext cx="174625" cy="228600"/>
                </a:xfrm>
                <a:custGeom>
                  <a:avLst/>
                  <a:gdLst>
                    <a:gd name="T0" fmla="*/ 36 w 110"/>
                    <a:gd name="T1" fmla="*/ 144 h 144"/>
                    <a:gd name="T2" fmla="*/ 110 w 110"/>
                    <a:gd name="T3" fmla="*/ 62 h 144"/>
                    <a:gd name="T4" fmla="*/ 90 w 110"/>
                    <a:gd name="T5" fmla="*/ 0 h 144"/>
                    <a:gd name="T6" fmla="*/ 0 w 110"/>
                    <a:gd name="T7" fmla="*/ 28 h 144"/>
                    <a:gd name="T8" fmla="*/ 36 w 110"/>
                    <a:gd name="T9" fmla="*/ 144 h 144"/>
                  </a:gdLst>
                  <a:ahLst/>
                  <a:cxnLst>
                    <a:cxn ang="0">
                      <a:pos x="T0" y="T1"/>
                    </a:cxn>
                    <a:cxn ang="0">
                      <a:pos x="T2" y="T3"/>
                    </a:cxn>
                    <a:cxn ang="0">
                      <a:pos x="T4" y="T5"/>
                    </a:cxn>
                    <a:cxn ang="0">
                      <a:pos x="T6" y="T7"/>
                    </a:cxn>
                    <a:cxn ang="0">
                      <a:pos x="T8" y="T9"/>
                    </a:cxn>
                  </a:cxnLst>
                  <a:rect l="0" t="0" r="r" b="b"/>
                  <a:pathLst>
                    <a:path w="110" h="144">
                      <a:moveTo>
                        <a:pt x="36" y="144"/>
                      </a:moveTo>
                      <a:lnTo>
                        <a:pt x="110" y="62"/>
                      </a:lnTo>
                      <a:lnTo>
                        <a:pt x="90" y="0"/>
                      </a:lnTo>
                      <a:lnTo>
                        <a:pt x="0" y="28"/>
                      </a:lnTo>
                      <a:lnTo>
                        <a:pt x="36" y="144"/>
                      </a:lnTo>
                      <a:close/>
                    </a:path>
                  </a:pathLst>
                </a:custGeom>
                <a:solidFill>
                  <a:srgbClr val="9C9D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21" name="Freeform 137"/>
                <p:cNvSpPr>
                  <a:spLocks noEditPoints="1"/>
                </p:cNvSpPr>
                <p:nvPr/>
              </p:nvSpPr>
              <p:spPr bwMode="auto">
                <a:xfrm>
                  <a:off x="3735388" y="122237"/>
                  <a:ext cx="38100" cy="38100"/>
                </a:xfrm>
                <a:custGeom>
                  <a:avLst/>
                  <a:gdLst>
                    <a:gd name="T0" fmla="*/ 8 w 12"/>
                    <a:gd name="T1" fmla="*/ 11 h 12"/>
                    <a:gd name="T2" fmla="*/ 1 w 12"/>
                    <a:gd name="T3" fmla="*/ 7 h 12"/>
                    <a:gd name="T4" fmla="*/ 5 w 12"/>
                    <a:gd name="T5" fmla="*/ 1 h 12"/>
                    <a:gd name="T6" fmla="*/ 11 w 12"/>
                    <a:gd name="T7" fmla="*/ 4 h 12"/>
                    <a:gd name="T8" fmla="*/ 8 w 12"/>
                    <a:gd name="T9" fmla="*/ 11 h 12"/>
                    <a:gd name="T10" fmla="*/ 6 w 12"/>
                    <a:gd name="T11" fmla="*/ 3 h 12"/>
                    <a:gd name="T12" fmla="*/ 4 w 12"/>
                    <a:gd name="T13" fmla="*/ 7 h 12"/>
                    <a:gd name="T14" fmla="*/ 7 w 12"/>
                    <a:gd name="T15" fmla="*/ 8 h 12"/>
                    <a:gd name="T16" fmla="*/ 9 w 12"/>
                    <a:gd name="T17" fmla="*/ 5 h 12"/>
                    <a:gd name="T18" fmla="*/ 6 w 12"/>
                    <a:gd name="T19"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8" y="11"/>
                      </a:moveTo>
                      <a:cubicBezTo>
                        <a:pt x="5" y="12"/>
                        <a:pt x="2" y="10"/>
                        <a:pt x="1" y="7"/>
                      </a:cubicBezTo>
                      <a:cubicBezTo>
                        <a:pt x="0" y="5"/>
                        <a:pt x="2" y="2"/>
                        <a:pt x="5" y="1"/>
                      </a:cubicBezTo>
                      <a:cubicBezTo>
                        <a:pt x="8" y="0"/>
                        <a:pt x="11" y="2"/>
                        <a:pt x="11" y="4"/>
                      </a:cubicBezTo>
                      <a:cubicBezTo>
                        <a:pt x="12" y="7"/>
                        <a:pt x="11" y="10"/>
                        <a:pt x="8" y="11"/>
                      </a:cubicBezTo>
                      <a:moveTo>
                        <a:pt x="6" y="3"/>
                      </a:moveTo>
                      <a:cubicBezTo>
                        <a:pt x="4" y="4"/>
                        <a:pt x="3" y="5"/>
                        <a:pt x="4" y="7"/>
                      </a:cubicBezTo>
                      <a:cubicBezTo>
                        <a:pt x="4" y="8"/>
                        <a:pt x="6" y="9"/>
                        <a:pt x="7" y="8"/>
                      </a:cubicBezTo>
                      <a:cubicBezTo>
                        <a:pt x="9" y="8"/>
                        <a:pt x="9" y="7"/>
                        <a:pt x="9" y="5"/>
                      </a:cubicBezTo>
                      <a:cubicBezTo>
                        <a:pt x="9" y="4"/>
                        <a:pt x="7" y="3"/>
                        <a:pt x="6"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22" name="Freeform 138"/>
                <p:cNvSpPr>
                  <a:spLocks noEditPoints="1"/>
                </p:cNvSpPr>
                <p:nvPr/>
              </p:nvSpPr>
              <p:spPr bwMode="auto">
                <a:xfrm>
                  <a:off x="3859213" y="84137"/>
                  <a:ext cx="38100" cy="38100"/>
                </a:xfrm>
                <a:custGeom>
                  <a:avLst/>
                  <a:gdLst>
                    <a:gd name="T0" fmla="*/ 8 w 12"/>
                    <a:gd name="T1" fmla="*/ 11 h 12"/>
                    <a:gd name="T2" fmla="*/ 1 w 12"/>
                    <a:gd name="T3" fmla="*/ 8 h 12"/>
                    <a:gd name="T4" fmla="*/ 5 w 12"/>
                    <a:gd name="T5" fmla="*/ 1 h 12"/>
                    <a:gd name="T6" fmla="*/ 11 w 12"/>
                    <a:gd name="T7" fmla="*/ 4 h 12"/>
                    <a:gd name="T8" fmla="*/ 8 w 12"/>
                    <a:gd name="T9" fmla="*/ 11 h 12"/>
                    <a:gd name="T10" fmla="*/ 5 w 12"/>
                    <a:gd name="T11" fmla="*/ 3 h 12"/>
                    <a:gd name="T12" fmla="*/ 4 w 12"/>
                    <a:gd name="T13" fmla="*/ 7 h 12"/>
                    <a:gd name="T14" fmla="*/ 7 w 12"/>
                    <a:gd name="T15" fmla="*/ 9 h 12"/>
                    <a:gd name="T16" fmla="*/ 9 w 12"/>
                    <a:gd name="T17" fmla="*/ 5 h 12"/>
                    <a:gd name="T18" fmla="*/ 5 w 12"/>
                    <a:gd name="T19"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8" y="11"/>
                      </a:moveTo>
                      <a:cubicBezTo>
                        <a:pt x="5" y="12"/>
                        <a:pt x="2" y="10"/>
                        <a:pt x="1" y="8"/>
                      </a:cubicBezTo>
                      <a:cubicBezTo>
                        <a:pt x="0" y="5"/>
                        <a:pt x="2" y="2"/>
                        <a:pt x="5" y="1"/>
                      </a:cubicBezTo>
                      <a:cubicBezTo>
                        <a:pt x="7" y="0"/>
                        <a:pt x="10" y="2"/>
                        <a:pt x="11" y="4"/>
                      </a:cubicBezTo>
                      <a:cubicBezTo>
                        <a:pt x="12" y="7"/>
                        <a:pt x="11" y="10"/>
                        <a:pt x="8" y="11"/>
                      </a:cubicBezTo>
                      <a:moveTo>
                        <a:pt x="5" y="3"/>
                      </a:moveTo>
                      <a:cubicBezTo>
                        <a:pt x="4" y="4"/>
                        <a:pt x="3" y="5"/>
                        <a:pt x="4" y="7"/>
                      </a:cubicBezTo>
                      <a:cubicBezTo>
                        <a:pt x="4" y="8"/>
                        <a:pt x="6" y="9"/>
                        <a:pt x="7" y="9"/>
                      </a:cubicBezTo>
                      <a:cubicBezTo>
                        <a:pt x="8" y="8"/>
                        <a:pt x="9" y="7"/>
                        <a:pt x="9" y="5"/>
                      </a:cubicBezTo>
                      <a:cubicBezTo>
                        <a:pt x="8" y="4"/>
                        <a:pt x="7" y="3"/>
                        <a:pt x="5"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23" name="Freeform 139"/>
                <p:cNvSpPr>
                  <a:spLocks/>
                </p:cNvSpPr>
                <p:nvPr/>
              </p:nvSpPr>
              <p:spPr bwMode="auto">
                <a:xfrm>
                  <a:off x="3592513" y="-112713"/>
                  <a:ext cx="53975" cy="44450"/>
                </a:xfrm>
                <a:custGeom>
                  <a:avLst/>
                  <a:gdLst>
                    <a:gd name="T0" fmla="*/ 34 w 34"/>
                    <a:gd name="T1" fmla="*/ 20 h 28"/>
                    <a:gd name="T2" fmla="*/ 6 w 34"/>
                    <a:gd name="T3" fmla="*/ 28 h 28"/>
                    <a:gd name="T4" fmla="*/ 0 w 34"/>
                    <a:gd name="T5" fmla="*/ 8 h 28"/>
                    <a:gd name="T6" fmla="*/ 28 w 34"/>
                    <a:gd name="T7" fmla="*/ 0 h 28"/>
                    <a:gd name="T8" fmla="*/ 34 w 34"/>
                    <a:gd name="T9" fmla="*/ 20 h 28"/>
                  </a:gdLst>
                  <a:ahLst/>
                  <a:cxnLst>
                    <a:cxn ang="0">
                      <a:pos x="T0" y="T1"/>
                    </a:cxn>
                    <a:cxn ang="0">
                      <a:pos x="T2" y="T3"/>
                    </a:cxn>
                    <a:cxn ang="0">
                      <a:pos x="T4" y="T5"/>
                    </a:cxn>
                    <a:cxn ang="0">
                      <a:pos x="T6" y="T7"/>
                    </a:cxn>
                    <a:cxn ang="0">
                      <a:pos x="T8" y="T9"/>
                    </a:cxn>
                  </a:cxnLst>
                  <a:rect l="0" t="0" r="r" b="b"/>
                  <a:pathLst>
                    <a:path w="34" h="28">
                      <a:moveTo>
                        <a:pt x="34" y="20"/>
                      </a:moveTo>
                      <a:lnTo>
                        <a:pt x="6" y="28"/>
                      </a:lnTo>
                      <a:lnTo>
                        <a:pt x="0" y="8"/>
                      </a:lnTo>
                      <a:lnTo>
                        <a:pt x="28" y="0"/>
                      </a:lnTo>
                      <a:lnTo>
                        <a:pt x="34"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24" name="Freeform 140"/>
                <p:cNvSpPr>
                  <a:spLocks/>
                </p:cNvSpPr>
                <p:nvPr/>
              </p:nvSpPr>
              <p:spPr bwMode="auto">
                <a:xfrm>
                  <a:off x="3608388" y="-61913"/>
                  <a:ext cx="60325" cy="69850"/>
                </a:xfrm>
                <a:custGeom>
                  <a:avLst/>
                  <a:gdLst>
                    <a:gd name="T0" fmla="*/ 38 w 38"/>
                    <a:gd name="T1" fmla="*/ 34 h 44"/>
                    <a:gd name="T2" fmla="*/ 10 w 38"/>
                    <a:gd name="T3" fmla="*/ 44 h 44"/>
                    <a:gd name="T4" fmla="*/ 0 w 38"/>
                    <a:gd name="T5" fmla="*/ 8 h 44"/>
                    <a:gd name="T6" fmla="*/ 28 w 38"/>
                    <a:gd name="T7" fmla="*/ 0 h 44"/>
                    <a:gd name="T8" fmla="*/ 38 w 38"/>
                    <a:gd name="T9" fmla="*/ 34 h 44"/>
                  </a:gdLst>
                  <a:ahLst/>
                  <a:cxnLst>
                    <a:cxn ang="0">
                      <a:pos x="T0" y="T1"/>
                    </a:cxn>
                    <a:cxn ang="0">
                      <a:pos x="T2" y="T3"/>
                    </a:cxn>
                    <a:cxn ang="0">
                      <a:pos x="T4" y="T5"/>
                    </a:cxn>
                    <a:cxn ang="0">
                      <a:pos x="T6" y="T7"/>
                    </a:cxn>
                    <a:cxn ang="0">
                      <a:pos x="T8" y="T9"/>
                    </a:cxn>
                  </a:cxnLst>
                  <a:rect l="0" t="0" r="r" b="b"/>
                  <a:pathLst>
                    <a:path w="38" h="44">
                      <a:moveTo>
                        <a:pt x="38" y="34"/>
                      </a:moveTo>
                      <a:lnTo>
                        <a:pt x="10" y="44"/>
                      </a:lnTo>
                      <a:lnTo>
                        <a:pt x="0" y="8"/>
                      </a:lnTo>
                      <a:lnTo>
                        <a:pt x="28" y="0"/>
                      </a:lnTo>
                      <a:lnTo>
                        <a:pt x="38"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25" name="Freeform 141"/>
                <p:cNvSpPr>
                  <a:spLocks/>
                </p:cNvSpPr>
                <p:nvPr/>
              </p:nvSpPr>
              <p:spPr bwMode="auto">
                <a:xfrm>
                  <a:off x="3630613" y="14287"/>
                  <a:ext cx="60325" cy="66675"/>
                </a:xfrm>
                <a:custGeom>
                  <a:avLst/>
                  <a:gdLst>
                    <a:gd name="T0" fmla="*/ 38 w 38"/>
                    <a:gd name="T1" fmla="*/ 34 h 42"/>
                    <a:gd name="T2" fmla="*/ 12 w 38"/>
                    <a:gd name="T3" fmla="*/ 42 h 42"/>
                    <a:gd name="T4" fmla="*/ 0 w 38"/>
                    <a:gd name="T5" fmla="*/ 8 h 42"/>
                    <a:gd name="T6" fmla="*/ 28 w 38"/>
                    <a:gd name="T7" fmla="*/ 0 h 42"/>
                    <a:gd name="T8" fmla="*/ 38 w 38"/>
                    <a:gd name="T9" fmla="*/ 34 h 42"/>
                  </a:gdLst>
                  <a:ahLst/>
                  <a:cxnLst>
                    <a:cxn ang="0">
                      <a:pos x="T0" y="T1"/>
                    </a:cxn>
                    <a:cxn ang="0">
                      <a:pos x="T2" y="T3"/>
                    </a:cxn>
                    <a:cxn ang="0">
                      <a:pos x="T4" y="T5"/>
                    </a:cxn>
                    <a:cxn ang="0">
                      <a:pos x="T6" y="T7"/>
                    </a:cxn>
                    <a:cxn ang="0">
                      <a:pos x="T8" y="T9"/>
                    </a:cxn>
                  </a:cxnLst>
                  <a:rect l="0" t="0" r="r" b="b"/>
                  <a:pathLst>
                    <a:path w="38" h="42">
                      <a:moveTo>
                        <a:pt x="38" y="34"/>
                      </a:moveTo>
                      <a:lnTo>
                        <a:pt x="12" y="42"/>
                      </a:lnTo>
                      <a:lnTo>
                        <a:pt x="0" y="8"/>
                      </a:lnTo>
                      <a:lnTo>
                        <a:pt x="28" y="0"/>
                      </a:lnTo>
                      <a:lnTo>
                        <a:pt x="38"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26" name="Freeform 142"/>
                <p:cNvSpPr>
                  <a:spLocks/>
                </p:cNvSpPr>
                <p:nvPr/>
              </p:nvSpPr>
              <p:spPr bwMode="auto">
                <a:xfrm>
                  <a:off x="3763963" y="-163513"/>
                  <a:ext cx="53975" cy="44450"/>
                </a:xfrm>
                <a:custGeom>
                  <a:avLst/>
                  <a:gdLst>
                    <a:gd name="T0" fmla="*/ 34 w 34"/>
                    <a:gd name="T1" fmla="*/ 18 h 28"/>
                    <a:gd name="T2" fmla="*/ 6 w 34"/>
                    <a:gd name="T3" fmla="*/ 28 h 28"/>
                    <a:gd name="T4" fmla="*/ 0 w 34"/>
                    <a:gd name="T5" fmla="*/ 8 h 28"/>
                    <a:gd name="T6" fmla="*/ 28 w 34"/>
                    <a:gd name="T7" fmla="*/ 0 h 28"/>
                    <a:gd name="T8" fmla="*/ 34 w 34"/>
                    <a:gd name="T9" fmla="*/ 18 h 28"/>
                  </a:gdLst>
                  <a:ahLst/>
                  <a:cxnLst>
                    <a:cxn ang="0">
                      <a:pos x="T0" y="T1"/>
                    </a:cxn>
                    <a:cxn ang="0">
                      <a:pos x="T2" y="T3"/>
                    </a:cxn>
                    <a:cxn ang="0">
                      <a:pos x="T4" y="T5"/>
                    </a:cxn>
                    <a:cxn ang="0">
                      <a:pos x="T6" y="T7"/>
                    </a:cxn>
                    <a:cxn ang="0">
                      <a:pos x="T8" y="T9"/>
                    </a:cxn>
                  </a:cxnLst>
                  <a:rect l="0" t="0" r="r" b="b"/>
                  <a:pathLst>
                    <a:path w="34" h="28">
                      <a:moveTo>
                        <a:pt x="34" y="18"/>
                      </a:moveTo>
                      <a:lnTo>
                        <a:pt x="6" y="28"/>
                      </a:lnTo>
                      <a:lnTo>
                        <a:pt x="0" y="8"/>
                      </a:lnTo>
                      <a:lnTo>
                        <a:pt x="28" y="0"/>
                      </a:lnTo>
                      <a:lnTo>
                        <a:pt x="34"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27" name="Freeform 143"/>
                <p:cNvSpPr>
                  <a:spLocks/>
                </p:cNvSpPr>
                <p:nvPr/>
              </p:nvSpPr>
              <p:spPr bwMode="auto">
                <a:xfrm>
                  <a:off x="3779838" y="-115888"/>
                  <a:ext cx="60325" cy="69850"/>
                </a:xfrm>
                <a:custGeom>
                  <a:avLst/>
                  <a:gdLst>
                    <a:gd name="T0" fmla="*/ 38 w 38"/>
                    <a:gd name="T1" fmla="*/ 36 h 44"/>
                    <a:gd name="T2" fmla="*/ 10 w 38"/>
                    <a:gd name="T3" fmla="*/ 44 h 44"/>
                    <a:gd name="T4" fmla="*/ 0 w 38"/>
                    <a:gd name="T5" fmla="*/ 10 h 44"/>
                    <a:gd name="T6" fmla="*/ 28 w 38"/>
                    <a:gd name="T7" fmla="*/ 0 h 44"/>
                    <a:gd name="T8" fmla="*/ 38 w 38"/>
                    <a:gd name="T9" fmla="*/ 36 h 44"/>
                  </a:gdLst>
                  <a:ahLst/>
                  <a:cxnLst>
                    <a:cxn ang="0">
                      <a:pos x="T0" y="T1"/>
                    </a:cxn>
                    <a:cxn ang="0">
                      <a:pos x="T2" y="T3"/>
                    </a:cxn>
                    <a:cxn ang="0">
                      <a:pos x="T4" y="T5"/>
                    </a:cxn>
                    <a:cxn ang="0">
                      <a:pos x="T6" y="T7"/>
                    </a:cxn>
                    <a:cxn ang="0">
                      <a:pos x="T8" y="T9"/>
                    </a:cxn>
                  </a:cxnLst>
                  <a:rect l="0" t="0" r="r" b="b"/>
                  <a:pathLst>
                    <a:path w="38" h="44">
                      <a:moveTo>
                        <a:pt x="38" y="36"/>
                      </a:moveTo>
                      <a:lnTo>
                        <a:pt x="10" y="44"/>
                      </a:lnTo>
                      <a:lnTo>
                        <a:pt x="0" y="10"/>
                      </a:lnTo>
                      <a:lnTo>
                        <a:pt x="28" y="0"/>
                      </a:lnTo>
                      <a:lnTo>
                        <a:pt x="38"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28" name="Freeform 144"/>
                <p:cNvSpPr>
                  <a:spLocks/>
                </p:cNvSpPr>
                <p:nvPr/>
              </p:nvSpPr>
              <p:spPr bwMode="auto">
                <a:xfrm>
                  <a:off x="3802063" y="-39688"/>
                  <a:ext cx="60325" cy="69850"/>
                </a:xfrm>
                <a:custGeom>
                  <a:avLst/>
                  <a:gdLst>
                    <a:gd name="T0" fmla="*/ 38 w 38"/>
                    <a:gd name="T1" fmla="*/ 36 h 44"/>
                    <a:gd name="T2" fmla="*/ 12 w 38"/>
                    <a:gd name="T3" fmla="*/ 44 h 44"/>
                    <a:gd name="T4" fmla="*/ 0 w 38"/>
                    <a:gd name="T5" fmla="*/ 8 h 44"/>
                    <a:gd name="T6" fmla="*/ 28 w 38"/>
                    <a:gd name="T7" fmla="*/ 0 h 44"/>
                    <a:gd name="T8" fmla="*/ 38 w 38"/>
                    <a:gd name="T9" fmla="*/ 36 h 44"/>
                  </a:gdLst>
                  <a:ahLst/>
                  <a:cxnLst>
                    <a:cxn ang="0">
                      <a:pos x="T0" y="T1"/>
                    </a:cxn>
                    <a:cxn ang="0">
                      <a:pos x="T2" y="T3"/>
                    </a:cxn>
                    <a:cxn ang="0">
                      <a:pos x="T4" y="T5"/>
                    </a:cxn>
                    <a:cxn ang="0">
                      <a:pos x="T6" y="T7"/>
                    </a:cxn>
                    <a:cxn ang="0">
                      <a:pos x="T8" y="T9"/>
                    </a:cxn>
                  </a:cxnLst>
                  <a:rect l="0" t="0" r="r" b="b"/>
                  <a:pathLst>
                    <a:path w="38" h="44">
                      <a:moveTo>
                        <a:pt x="38" y="36"/>
                      </a:moveTo>
                      <a:lnTo>
                        <a:pt x="12" y="44"/>
                      </a:lnTo>
                      <a:lnTo>
                        <a:pt x="0" y="8"/>
                      </a:lnTo>
                      <a:lnTo>
                        <a:pt x="28" y="0"/>
                      </a:lnTo>
                      <a:lnTo>
                        <a:pt x="38"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29" name="Freeform 145"/>
                <p:cNvSpPr>
                  <a:spLocks/>
                </p:cNvSpPr>
                <p:nvPr/>
              </p:nvSpPr>
              <p:spPr bwMode="auto">
                <a:xfrm>
                  <a:off x="3856038" y="-131763"/>
                  <a:ext cx="53975" cy="44450"/>
                </a:xfrm>
                <a:custGeom>
                  <a:avLst/>
                  <a:gdLst>
                    <a:gd name="T0" fmla="*/ 34 w 34"/>
                    <a:gd name="T1" fmla="*/ 20 h 28"/>
                    <a:gd name="T2" fmla="*/ 6 w 34"/>
                    <a:gd name="T3" fmla="*/ 28 h 28"/>
                    <a:gd name="T4" fmla="*/ 0 w 34"/>
                    <a:gd name="T5" fmla="*/ 10 h 28"/>
                    <a:gd name="T6" fmla="*/ 28 w 34"/>
                    <a:gd name="T7" fmla="*/ 0 h 28"/>
                    <a:gd name="T8" fmla="*/ 34 w 34"/>
                    <a:gd name="T9" fmla="*/ 20 h 28"/>
                  </a:gdLst>
                  <a:ahLst/>
                  <a:cxnLst>
                    <a:cxn ang="0">
                      <a:pos x="T0" y="T1"/>
                    </a:cxn>
                    <a:cxn ang="0">
                      <a:pos x="T2" y="T3"/>
                    </a:cxn>
                    <a:cxn ang="0">
                      <a:pos x="T4" y="T5"/>
                    </a:cxn>
                    <a:cxn ang="0">
                      <a:pos x="T6" y="T7"/>
                    </a:cxn>
                    <a:cxn ang="0">
                      <a:pos x="T8" y="T9"/>
                    </a:cxn>
                  </a:cxnLst>
                  <a:rect l="0" t="0" r="r" b="b"/>
                  <a:pathLst>
                    <a:path w="34" h="28">
                      <a:moveTo>
                        <a:pt x="34" y="20"/>
                      </a:moveTo>
                      <a:lnTo>
                        <a:pt x="6" y="28"/>
                      </a:lnTo>
                      <a:lnTo>
                        <a:pt x="0" y="10"/>
                      </a:lnTo>
                      <a:lnTo>
                        <a:pt x="28" y="0"/>
                      </a:lnTo>
                      <a:lnTo>
                        <a:pt x="34"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30" name="Freeform 146"/>
                <p:cNvSpPr>
                  <a:spLocks/>
                </p:cNvSpPr>
                <p:nvPr/>
              </p:nvSpPr>
              <p:spPr bwMode="auto">
                <a:xfrm>
                  <a:off x="3871913" y="-80963"/>
                  <a:ext cx="50800" cy="41275"/>
                </a:xfrm>
                <a:custGeom>
                  <a:avLst/>
                  <a:gdLst>
                    <a:gd name="T0" fmla="*/ 32 w 32"/>
                    <a:gd name="T1" fmla="*/ 18 h 26"/>
                    <a:gd name="T2" fmla="*/ 4 w 32"/>
                    <a:gd name="T3" fmla="*/ 26 h 26"/>
                    <a:gd name="T4" fmla="*/ 0 w 32"/>
                    <a:gd name="T5" fmla="*/ 8 h 26"/>
                    <a:gd name="T6" fmla="*/ 26 w 32"/>
                    <a:gd name="T7" fmla="*/ 0 h 26"/>
                    <a:gd name="T8" fmla="*/ 32 w 32"/>
                    <a:gd name="T9" fmla="*/ 18 h 26"/>
                  </a:gdLst>
                  <a:ahLst/>
                  <a:cxnLst>
                    <a:cxn ang="0">
                      <a:pos x="T0" y="T1"/>
                    </a:cxn>
                    <a:cxn ang="0">
                      <a:pos x="T2" y="T3"/>
                    </a:cxn>
                    <a:cxn ang="0">
                      <a:pos x="T4" y="T5"/>
                    </a:cxn>
                    <a:cxn ang="0">
                      <a:pos x="T6" y="T7"/>
                    </a:cxn>
                    <a:cxn ang="0">
                      <a:pos x="T8" y="T9"/>
                    </a:cxn>
                  </a:cxnLst>
                  <a:rect l="0" t="0" r="r" b="b"/>
                  <a:pathLst>
                    <a:path w="32" h="26">
                      <a:moveTo>
                        <a:pt x="32" y="18"/>
                      </a:moveTo>
                      <a:lnTo>
                        <a:pt x="4" y="26"/>
                      </a:lnTo>
                      <a:lnTo>
                        <a:pt x="0" y="8"/>
                      </a:lnTo>
                      <a:lnTo>
                        <a:pt x="26" y="0"/>
                      </a:lnTo>
                      <a:lnTo>
                        <a:pt x="32"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31" name="Freeform 147"/>
                <p:cNvSpPr>
                  <a:spLocks/>
                </p:cNvSpPr>
                <p:nvPr/>
              </p:nvSpPr>
              <p:spPr bwMode="auto">
                <a:xfrm>
                  <a:off x="3884613" y="-33338"/>
                  <a:ext cx="53975" cy="41275"/>
                </a:xfrm>
                <a:custGeom>
                  <a:avLst/>
                  <a:gdLst>
                    <a:gd name="T0" fmla="*/ 34 w 34"/>
                    <a:gd name="T1" fmla="*/ 16 h 26"/>
                    <a:gd name="T2" fmla="*/ 6 w 34"/>
                    <a:gd name="T3" fmla="*/ 26 h 26"/>
                    <a:gd name="T4" fmla="*/ 0 w 34"/>
                    <a:gd name="T5" fmla="*/ 8 h 26"/>
                    <a:gd name="T6" fmla="*/ 28 w 34"/>
                    <a:gd name="T7" fmla="*/ 0 h 26"/>
                    <a:gd name="T8" fmla="*/ 34 w 34"/>
                    <a:gd name="T9" fmla="*/ 16 h 26"/>
                  </a:gdLst>
                  <a:ahLst/>
                  <a:cxnLst>
                    <a:cxn ang="0">
                      <a:pos x="T0" y="T1"/>
                    </a:cxn>
                    <a:cxn ang="0">
                      <a:pos x="T2" y="T3"/>
                    </a:cxn>
                    <a:cxn ang="0">
                      <a:pos x="T4" y="T5"/>
                    </a:cxn>
                    <a:cxn ang="0">
                      <a:pos x="T6" y="T7"/>
                    </a:cxn>
                    <a:cxn ang="0">
                      <a:pos x="T8" y="T9"/>
                    </a:cxn>
                  </a:cxnLst>
                  <a:rect l="0" t="0" r="r" b="b"/>
                  <a:pathLst>
                    <a:path w="34" h="26">
                      <a:moveTo>
                        <a:pt x="34" y="16"/>
                      </a:moveTo>
                      <a:lnTo>
                        <a:pt x="6" y="26"/>
                      </a:lnTo>
                      <a:lnTo>
                        <a:pt x="0" y="8"/>
                      </a:lnTo>
                      <a:lnTo>
                        <a:pt x="28" y="0"/>
                      </a:lnTo>
                      <a:lnTo>
                        <a:pt x="34"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32" name="Freeform 148"/>
                <p:cNvSpPr>
                  <a:spLocks/>
                </p:cNvSpPr>
                <p:nvPr/>
              </p:nvSpPr>
              <p:spPr bwMode="auto">
                <a:xfrm>
                  <a:off x="3668713" y="-182563"/>
                  <a:ext cx="53975" cy="44450"/>
                </a:xfrm>
                <a:custGeom>
                  <a:avLst/>
                  <a:gdLst>
                    <a:gd name="T0" fmla="*/ 34 w 34"/>
                    <a:gd name="T1" fmla="*/ 20 h 28"/>
                    <a:gd name="T2" fmla="*/ 6 w 34"/>
                    <a:gd name="T3" fmla="*/ 28 h 28"/>
                    <a:gd name="T4" fmla="*/ 0 w 34"/>
                    <a:gd name="T5" fmla="*/ 10 h 28"/>
                    <a:gd name="T6" fmla="*/ 28 w 34"/>
                    <a:gd name="T7" fmla="*/ 0 h 28"/>
                    <a:gd name="T8" fmla="*/ 34 w 34"/>
                    <a:gd name="T9" fmla="*/ 20 h 28"/>
                  </a:gdLst>
                  <a:ahLst/>
                  <a:cxnLst>
                    <a:cxn ang="0">
                      <a:pos x="T0" y="T1"/>
                    </a:cxn>
                    <a:cxn ang="0">
                      <a:pos x="T2" y="T3"/>
                    </a:cxn>
                    <a:cxn ang="0">
                      <a:pos x="T4" y="T5"/>
                    </a:cxn>
                    <a:cxn ang="0">
                      <a:pos x="T6" y="T7"/>
                    </a:cxn>
                    <a:cxn ang="0">
                      <a:pos x="T8" y="T9"/>
                    </a:cxn>
                  </a:cxnLst>
                  <a:rect l="0" t="0" r="r" b="b"/>
                  <a:pathLst>
                    <a:path w="34" h="28">
                      <a:moveTo>
                        <a:pt x="34" y="20"/>
                      </a:moveTo>
                      <a:lnTo>
                        <a:pt x="6" y="28"/>
                      </a:lnTo>
                      <a:lnTo>
                        <a:pt x="0" y="10"/>
                      </a:lnTo>
                      <a:lnTo>
                        <a:pt x="28" y="0"/>
                      </a:lnTo>
                      <a:lnTo>
                        <a:pt x="34"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33" name="Freeform 149"/>
                <p:cNvSpPr>
                  <a:spLocks/>
                </p:cNvSpPr>
                <p:nvPr/>
              </p:nvSpPr>
              <p:spPr bwMode="auto">
                <a:xfrm>
                  <a:off x="3684588" y="-131763"/>
                  <a:ext cx="73025" cy="111125"/>
                </a:xfrm>
                <a:custGeom>
                  <a:avLst/>
                  <a:gdLst>
                    <a:gd name="T0" fmla="*/ 46 w 46"/>
                    <a:gd name="T1" fmla="*/ 62 h 70"/>
                    <a:gd name="T2" fmla="*/ 18 w 46"/>
                    <a:gd name="T3" fmla="*/ 70 h 70"/>
                    <a:gd name="T4" fmla="*/ 0 w 46"/>
                    <a:gd name="T5" fmla="*/ 8 h 70"/>
                    <a:gd name="T6" fmla="*/ 26 w 46"/>
                    <a:gd name="T7" fmla="*/ 0 h 70"/>
                    <a:gd name="T8" fmla="*/ 46 w 46"/>
                    <a:gd name="T9" fmla="*/ 62 h 70"/>
                  </a:gdLst>
                  <a:ahLst/>
                  <a:cxnLst>
                    <a:cxn ang="0">
                      <a:pos x="T0" y="T1"/>
                    </a:cxn>
                    <a:cxn ang="0">
                      <a:pos x="T2" y="T3"/>
                    </a:cxn>
                    <a:cxn ang="0">
                      <a:pos x="T4" y="T5"/>
                    </a:cxn>
                    <a:cxn ang="0">
                      <a:pos x="T6" y="T7"/>
                    </a:cxn>
                    <a:cxn ang="0">
                      <a:pos x="T8" y="T9"/>
                    </a:cxn>
                  </a:cxnLst>
                  <a:rect l="0" t="0" r="r" b="b"/>
                  <a:pathLst>
                    <a:path w="46" h="70">
                      <a:moveTo>
                        <a:pt x="46" y="62"/>
                      </a:moveTo>
                      <a:lnTo>
                        <a:pt x="18" y="70"/>
                      </a:lnTo>
                      <a:lnTo>
                        <a:pt x="0" y="8"/>
                      </a:lnTo>
                      <a:lnTo>
                        <a:pt x="26" y="0"/>
                      </a:lnTo>
                      <a:lnTo>
                        <a:pt x="46"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34" name="Freeform 150"/>
                <p:cNvSpPr>
                  <a:spLocks/>
                </p:cNvSpPr>
                <p:nvPr/>
              </p:nvSpPr>
              <p:spPr bwMode="auto">
                <a:xfrm>
                  <a:off x="3719513" y="-14288"/>
                  <a:ext cx="60325" cy="69850"/>
                </a:xfrm>
                <a:custGeom>
                  <a:avLst/>
                  <a:gdLst>
                    <a:gd name="T0" fmla="*/ 38 w 38"/>
                    <a:gd name="T1" fmla="*/ 36 h 44"/>
                    <a:gd name="T2" fmla="*/ 10 w 38"/>
                    <a:gd name="T3" fmla="*/ 44 h 44"/>
                    <a:gd name="T4" fmla="*/ 0 w 38"/>
                    <a:gd name="T5" fmla="*/ 8 h 44"/>
                    <a:gd name="T6" fmla="*/ 28 w 38"/>
                    <a:gd name="T7" fmla="*/ 0 h 44"/>
                    <a:gd name="T8" fmla="*/ 38 w 38"/>
                    <a:gd name="T9" fmla="*/ 36 h 44"/>
                  </a:gdLst>
                  <a:ahLst/>
                  <a:cxnLst>
                    <a:cxn ang="0">
                      <a:pos x="T0" y="T1"/>
                    </a:cxn>
                    <a:cxn ang="0">
                      <a:pos x="T2" y="T3"/>
                    </a:cxn>
                    <a:cxn ang="0">
                      <a:pos x="T4" y="T5"/>
                    </a:cxn>
                    <a:cxn ang="0">
                      <a:pos x="T6" y="T7"/>
                    </a:cxn>
                    <a:cxn ang="0">
                      <a:pos x="T8" y="T9"/>
                    </a:cxn>
                  </a:cxnLst>
                  <a:rect l="0" t="0" r="r" b="b"/>
                  <a:pathLst>
                    <a:path w="38" h="44">
                      <a:moveTo>
                        <a:pt x="38" y="36"/>
                      </a:moveTo>
                      <a:lnTo>
                        <a:pt x="10" y="44"/>
                      </a:lnTo>
                      <a:lnTo>
                        <a:pt x="0" y="8"/>
                      </a:lnTo>
                      <a:lnTo>
                        <a:pt x="28" y="0"/>
                      </a:lnTo>
                      <a:lnTo>
                        <a:pt x="38"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35" name="Freeform 151"/>
                <p:cNvSpPr>
                  <a:spLocks/>
                </p:cNvSpPr>
                <p:nvPr/>
              </p:nvSpPr>
              <p:spPr bwMode="auto">
                <a:xfrm>
                  <a:off x="3554413" y="166687"/>
                  <a:ext cx="66675" cy="79375"/>
                </a:xfrm>
                <a:custGeom>
                  <a:avLst/>
                  <a:gdLst>
                    <a:gd name="T0" fmla="*/ 0 w 42"/>
                    <a:gd name="T1" fmla="*/ 26 h 50"/>
                    <a:gd name="T2" fmla="*/ 14 w 42"/>
                    <a:gd name="T3" fmla="*/ 0 h 50"/>
                    <a:gd name="T4" fmla="*/ 42 w 42"/>
                    <a:gd name="T5" fmla="*/ 18 h 50"/>
                    <a:gd name="T6" fmla="*/ 24 w 42"/>
                    <a:gd name="T7" fmla="*/ 50 h 50"/>
                    <a:gd name="T8" fmla="*/ 0 w 42"/>
                    <a:gd name="T9" fmla="*/ 26 h 50"/>
                  </a:gdLst>
                  <a:ahLst/>
                  <a:cxnLst>
                    <a:cxn ang="0">
                      <a:pos x="T0" y="T1"/>
                    </a:cxn>
                    <a:cxn ang="0">
                      <a:pos x="T2" y="T3"/>
                    </a:cxn>
                    <a:cxn ang="0">
                      <a:pos x="T4" y="T5"/>
                    </a:cxn>
                    <a:cxn ang="0">
                      <a:pos x="T6" y="T7"/>
                    </a:cxn>
                    <a:cxn ang="0">
                      <a:pos x="T8" y="T9"/>
                    </a:cxn>
                  </a:cxnLst>
                  <a:rect l="0" t="0" r="r" b="b"/>
                  <a:pathLst>
                    <a:path w="42" h="50">
                      <a:moveTo>
                        <a:pt x="0" y="26"/>
                      </a:moveTo>
                      <a:lnTo>
                        <a:pt x="14" y="0"/>
                      </a:lnTo>
                      <a:lnTo>
                        <a:pt x="42" y="18"/>
                      </a:lnTo>
                      <a:lnTo>
                        <a:pt x="24" y="50"/>
                      </a:lnTo>
                      <a:lnTo>
                        <a:pt x="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36" name="Freeform 152"/>
                <p:cNvSpPr>
                  <a:spLocks/>
                </p:cNvSpPr>
                <p:nvPr/>
              </p:nvSpPr>
              <p:spPr bwMode="auto">
                <a:xfrm>
                  <a:off x="3605213" y="204787"/>
                  <a:ext cx="111125" cy="123825"/>
                </a:xfrm>
                <a:custGeom>
                  <a:avLst/>
                  <a:gdLst>
                    <a:gd name="T0" fmla="*/ 0 w 70"/>
                    <a:gd name="T1" fmla="*/ 32 h 78"/>
                    <a:gd name="T2" fmla="*/ 16 w 70"/>
                    <a:gd name="T3" fmla="*/ 0 h 78"/>
                    <a:gd name="T4" fmla="*/ 48 w 70"/>
                    <a:gd name="T5" fmla="*/ 10 h 78"/>
                    <a:gd name="T6" fmla="*/ 70 w 70"/>
                    <a:gd name="T7" fmla="*/ 78 h 78"/>
                    <a:gd name="T8" fmla="*/ 0 w 70"/>
                    <a:gd name="T9" fmla="*/ 32 h 78"/>
                  </a:gdLst>
                  <a:ahLst/>
                  <a:cxnLst>
                    <a:cxn ang="0">
                      <a:pos x="T0" y="T1"/>
                    </a:cxn>
                    <a:cxn ang="0">
                      <a:pos x="T2" y="T3"/>
                    </a:cxn>
                    <a:cxn ang="0">
                      <a:pos x="T4" y="T5"/>
                    </a:cxn>
                    <a:cxn ang="0">
                      <a:pos x="T6" y="T7"/>
                    </a:cxn>
                    <a:cxn ang="0">
                      <a:pos x="T8" y="T9"/>
                    </a:cxn>
                  </a:cxnLst>
                  <a:rect l="0" t="0" r="r" b="b"/>
                  <a:pathLst>
                    <a:path w="70" h="78">
                      <a:moveTo>
                        <a:pt x="0" y="32"/>
                      </a:moveTo>
                      <a:lnTo>
                        <a:pt x="16" y="0"/>
                      </a:lnTo>
                      <a:lnTo>
                        <a:pt x="48" y="10"/>
                      </a:lnTo>
                      <a:lnTo>
                        <a:pt x="70" y="78"/>
                      </a:ln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37" name="Freeform 153"/>
                <p:cNvSpPr>
                  <a:spLocks/>
                </p:cNvSpPr>
                <p:nvPr/>
              </p:nvSpPr>
              <p:spPr bwMode="auto">
                <a:xfrm>
                  <a:off x="4005263" y="233362"/>
                  <a:ext cx="44450" cy="60325"/>
                </a:xfrm>
                <a:custGeom>
                  <a:avLst/>
                  <a:gdLst>
                    <a:gd name="T0" fmla="*/ 18 w 28"/>
                    <a:gd name="T1" fmla="*/ 0 h 38"/>
                    <a:gd name="T2" fmla="*/ 0 w 28"/>
                    <a:gd name="T3" fmla="*/ 6 h 38"/>
                    <a:gd name="T4" fmla="*/ 10 w 28"/>
                    <a:gd name="T5" fmla="*/ 38 h 38"/>
                    <a:gd name="T6" fmla="*/ 28 w 28"/>
                    <a:gd name="T7" fmla="*/ 32 h 38"/>
                    <a:gd name="T8" fmla="*/ 18 w 28"/>
                    <a:gd name="T9" fmla="*/ 0 h 38"/>
                  </a:gdLst>
                  <a:ahLst/>
                  <a:cxnLst>
                    <a:cxn ang="0">
                      <a:pos x="T0" y="T1"/>
                    </a:cxn>
                    <a:cxn ang="0">
                      <a:pos x="T2" y="T3"/>
                    </a:cxn>
                    <a:cxn ang="0">
                      <a:pos x="T4" y="T5"/>
                    </a:cxn>
                    <a:cxn ang="0">
                      <a:pos x="T6" y="T7"/>
                    </a:cxn>
                    <a:cxn ang="0">
                      <a:pos x="T8" y="T9"/>
                    </a:cxn>
                  </a:cxnLst>
                  <a:rect l="0" t="0" r="r" b="b"/>
                  <a:pathLst>
                    <a:path w="28" h="38">
                      <a:moveTo>
                        <a:pt x="18" y="0"/>
                      </a:moveTo>
                      <a:lnTo>
                        <a:pt x="0" y="6"/>
                      </a:lnTo>
                      <a:lnTo>
                        <a:pt x="10" y="38"/>
                      </a:lnTo>
                      <a:lnTo>
                        <a:pt x="28" y="32"/>
                      </a:lnTo>
                      <a:lnTo>
                        <a:pt x="1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38" name="Freeform 154"/>
                <p:cNvSpPr>
                  <a:spLocks/>
                </p:cNvSpPr>
                <p:nvPr/>
              </p:nvSpPr>
              <p:spPr bwMode="auto">
                <a:xfrm>
                  <a:off x="3995738" y="207962"/>
                  <a:ext cx="28575" cy="34925"/>
                </a:xfrm>
                <a:custGeom>
                  <a:avLst/>
                  <a:gdLst>
                    <a:gd name="T0" fmla="*/ 18 w 18"/>
                    <a:gd name="T1" fmla="*/ 18 h 22"/>
                    <a:gd name="T2" fmla="*/ 6 w 18"/>
                    <a:gd name="T3" fmla="*/ 22 h 22"/>
                    <a:gd name="T4" fmla="*/ 0 w 18"/>
                    <a:gd name="T5" fmla="*/ 4 h 22"/>
                    <a:gd name="T6" fmla="*/ 14 w 18"/>
                    <a:gd name="T7" fmla="*/ 0 h 22"/>
                    <a:gd name="T8" fmla="*/ 18 w 18"/>
                    <a:gd name="T9" fmla="*/ 18 h 22"/>
                  </a:gdLst>
                  <a:ahLst/>
                  <a:cxnLst>
                    <a:cxn ang="0">
                      <a:pos x="T0" y="T1"/>
                    </a:cxn>
                    <a:cxn ang="0">
                      <a:pos x="T2" y="T3"/>
                    </a:cxn>
                    <a:cxn ang="0">
                      <a:pos x="T4" y="T5"/>
                    </a:cxn>
                    <a:cxn ang="0">
                      <a:pos x="T6" y="T7"/>
                    </a:cxn>
                    <a:cxn ang="0">
                      <a:pos x="T8" y="T9"/>
                    </a:cxn>
                  </a:cxnLst>
                  <a:rect l="0" t="0" r="r" b="b"/>
                  <a:pathLst>
                    <a:path w="18" h="22">
                      <a:moveTo>
                        <a:pt x="18" y="18"/>
                      </a:moveTo>
                      <a:lnTo>
                        <a:pt x="6" y="22"/>
                      </a:lnTo>
                      <a:lnTo>
                        <a:pt x="0" y="4"/>
                      </a:lnTo>
                      <a:lnTo>
                        <a:pt x="14" y="0"/>
                      </a:lnTo>
                      <a:lnTo>
                        <a:pt x="18"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39" name="Freeform 156"/>
                <p:cNvSpPr>
                  <a:spLocks/>
                </p:cNvSpPr>
                <p:nvPr/>
              </p:nvSpPr>
              <p:spPr bwMode="auto">
                <a:xfrm>
                  <a:off x="3611563" y="-100013"/>
                  <a:ext cx="15875" cy="19050"/>
                </a:xfrm>
                <a:custGeom>
                  <a:avLst/>
                  <a:gdLst>
                    <a:gd name="T0" fmla="*/ 5 w 5"/>
                    <a:gd name="T1" fmla="*/ 2 h 6"/>
                    <a:gd name="T2" fmla="*/ 3 w 5"/>
                    <a:gd name="T3" fmla="*/ 6 h 6"/>
                    <a:gd name="T4" fmla="*/ 0 w 5"/>
                    <a:gd name="T5" fmla="*/ 4 h 6"/>
                    <a:gd name="T6" fmla="*/ 2 w 5"/>
                    <a:gd name="T7" fmla="*/ 1 h 6"/>
                    <a:gd name="T8" fmla="*/ 5 w 5"/>
                    <a:gd name="T9" fmla="*/ 2 h 6"/>
                  </a:gdLst>
                  <a:ahLst/>
                  <a:cxnLst>
                    <a:cxn ang="0">
                      <a:pos x="T0" y="T1"/>
                    </a:cxn>
                    <a:cxn ang="0">
                      <a:pos x="T2" y="T3"/>
                    </a:cxn>
                    <a:cxn ang="0">
                      <a:pos x="T4" y="T5"/>
                    </a:cxn>
                    <a:cxn ang="0">
                      <a:pos x="T6" y="T7"/>
                    </a:cxn>
                    <a:cxn ang="0">
                      <a:pos x="T8" y="T9"/>
                    </a:cxn>
                  </a:cxnLst>
                  <a:rect l="0" t="0" r="r" b="b"/>
                  <a:pathLst>
                    <a:path w="5" h="6">
                      <a:moveTo>
                        <a:pt x="5" y="2"/>
                      </a:moveTo>
                      <a:cubicBezTo>
                        <a:pt x="5" y="4"/>
                        <a:pt x="5" y="5"/>
                        <a:pt x="3" y="6"/>
                      </a:cubicBezTo>
                      <a:cubicBezTo>
                        <a:pt x="2" y="6"/>
                        <a:pt x="0" y="5"/>
                        <a:pt x="0" y="4"/>
                      </a:cubicBezTo>
                      <a:cubicBezTo>
                        <a:pt x="0" y="3"/>
                        <a:pt x="0" y="1"/>
                        <a:pt x="2" y="1"/>
                      </a:cubicBezTo>
                      <a:cubicBezTo>
                        <a:pt x="3" y="0"/>
                        <a:pt x="4" y="1"/>
                        <a:pt x="5" y="2"/>
                      </a:cubicBezTo>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40" name="Freeform 157"/>
                <p:cNvSpPr>
                  <a:spLocks/>
                </p:cNvSpPr>
                <p:nvPr/>
              </p:nvSpPr>
              <p:spPr bwMode="auto">
                <a:xfrm>
                  <a:off x="3684588" y="-169863"/>
                  <a:ext cx="19050" cy="19050"/>
                </a:xfrm>
                <a:custGeom>
                  <a:avLst/>
                  <a:gdLst>
                    <a:gd name="T0" fmla="*/ 6 w 6"/>
                    <a:gd name="T1" fmla="*/ 3 h 6"/>
                    <a:gd name="T2" fmla="*/ 4 w 6"/>
                    <a:gd name="T3" fmla="*/ 6 h 6"/>
                    <a:gd name="T4" fmla="*/ 1 w 6"/>
                    <a:gd name="T5" fmla="*/ 4 h 6"/>
                    <a:gd name="T6" fmla="*/ 2 w 6"/>
                    <a:gd name="T7" fmla="*/ 1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4"/>
                        <a:pt x="5" y="5"/>
                        <a:pt x="4" y="6"/>
                      </a:cubicBezTo>
                      <a:cubicBezTo>
                        <a:pt x="3" y="6"/>
                        <a:pt x="1" y="5"/>
                        <a:pt x="1" y="4"/>
                      </a:cubicBezTo>
                      <a:cubicBezTo>
                        <a:pt x="0" y="3"/>
                        <a:pt x="1" y="1"/>
                        <a:pt x="2" y="1"/>
                      </a:cubicBezTo>
                      <a:cubicBezTo>
                        <a:pt x="4" y="0"/>
                        <a:pt x="5" y="1"/>
                        <a:pt x="6" y="3"/>
                      </a:cubicBezTo>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41" name="Freeform 158"/>
                <p:cNvSpPr>
                  <a:spLocks/>
                </p:cNvSpPr>
                <p:nvPr/>
              </p:nvSpPr>
              <p:spPr bwMode="auto">
                <a:xfrm>
                  <a:off x="3783013" y="-150813"/>
                  <a:ext cx="15875" cy="15875"/>
                </a:xfrm>
                <a:custGeom>
                  <a:avLst/>
                  <a:gdLst>
                    <a:gd name="T0" fmla="*/ 5 w 5"/>
                    <a:gd name="T1" fmla="*/ 2 h 5"/>
                    <a:gd name="T2" fmla="*/ 3 w 5"/>
                    <a:gd name="T3" fmla="*/ 5 h 5"/>
                    <a:gd name="T4" fmla="*/ 0 w 5"/>
                    <a:gd name="T5" fmla="*/ 3 h 5"/>
                    <a:gd name="T6" fmla="*/ 2 w 5"/>
                    <a:gd name="T7" fmla="*/ 0 h 5"/>
                    <a:gd name="T8" fmla="*/ 5 w 5"/>
                    <a:gd name="T9" fmla="*/ 2 h 5"/>
                  </a:gdLst>
                  <a:ahLst/>
                  <a:cxnLst>
                    <a:cxn ang="0">
                      <a:pos x="T0" y="T1"/>
                    </a:cxn>
                    <a:cxn ang="0">
                      <a:pos x="T2" y="T3"/>
                    </a:cxn>
                    <a:cxn ang="0">
                      <a:pos x="T4" y="T5"/>
                    </a:cxn>
                    <a:cxn ang="0">
                      <a:pos x="T6" y="T7"/>
                    </a:cxn>
                    <a:cxn ang="0">
                      <a:pos x="T8" y="T9"/>
                    </a:cxn>
                  </a:cxnLst>
                  <a:rect l="0" t="0" r="r" b="b"/>
                  <a:pathLst>
                    <a:path w="5" h="5">
                      <a:moveTo>
                        <a:pt x="5" y="2"/>
                      </a:moveTo>
                      <a:cubicBezTo>
                        <a:pt x="5" y="3"/>
                        <a:pt x="5" y="5"/>
                        <a:pt x="3" y="5"/>
                      </a:cubicBezTo>
                      <a:cubicBezTo>
                        <a:pt x="2" y="5"/>
                        <a:pt x="0" y="5"/>
                        <a:pt x="0" y="3"/>
                      </a:cubicBezTo>
                      <a:cubicBezTo>
                        <a:pt x="0" y="2"/>
                        <a:pt x="0" y="1"/>
                        <a:pt x="2" y="0"/>
                      </a:cubicBezTo>
                      <a:cubicBezTo>
                        <a:pt x="3" y="0"/>
                        <a:pt x="4" y="1"/>
                        <a:pt x="5" y="2"/>
                      </a:cubicBezTo>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42" name="Freeform 159"/>
                <p:cNvSpPr>
                  <a:spLocks/>
                </p:cNvSpPr>
                <p:nvPr/>
              </p:nvSpPr>
              <p:spPr bwMode="auto">
                <a:xfrm>
                  <a:off x="3871913" y="-115888"/>
                  <a:ext cx="19050" cy="15875"/>
                </a:xfrm>
                <a:custGeom>
                  <a:avLst/>
                  <a:gdLst>
                    <a:gd name="T0" fmla="*/ 6 w 6"/>
                    <a:gd name="T1" fmla="*/ 2 h 5"/>
                    <a:gd name="T2" fmla="*/ 4 w 6"/>
                    <a:gd name="T3" fmla="*/ 5 h 5"/>
                    <a:gd name="T4" fmla="*/ 1 w 6"/>
                    <a:gd name="T5" fmla="*/ 3 h 5"/>
                    <a:gd name="T6" fmla="*/ 3 w 6"/>
                    <a:gd name="T7" fmla="*/ 0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3"/>
                        <a:pt x="5" y="4"/>
                        <a:pt x="4" y="5"/>
                      </a:cubicBezTo>
                      <a:cubicBezTo>
                        <a:pt x="3" y="5"/>
                        <a:pt x="1" y="4"/>
                        <a:pt x="1" y="3"/>
                      </a:cubicBezTo>
                      <a:cubicBezTo>
                        <a:pt x="0" y="2"/>
                        <a:pt x="1" y="0"/>
                        <a:pt x="3" y="0"/>
                      </a:cubicBezTo>
                      <a:cubicBezTo>
                        <a:pt x="4" y="0"/>
                        <a:pt x="5" y="0"/>
                        <a:pt x="6" y="2"/>
                      </a:cubicBezTo>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43" name="Freeform 160"/>
                <p:cNvSpPr>
                  <a:spLocks/>
                </p:cNvSpPr>
                <p:nvPr/>
              </p:nvSpPr>
              <p:spPr bwMode="auto">
                <a:xfrm>
                  <a:off x="3760788" y="354012"/>
                  <a:ext cx="15875" cy="15875"/>
                </a:xfrm>
                <a:custGeom>
                  <a:avLst/>
                  <a:gdLst>
                    <a:gd name="T0" fmla="*/ 5 w 5"/>
                    <a:gd name="T1" fmla="*/ 2 h 5"/>
                    <a:gd name="T2" fmla="*/ 3 w 5"/>
                    <a:gd name="T3" fmla="*/ 5 h 5"/>
                    <a:gd name="T4" fmla="*/ 0 w 5"/>
                    <a:gd name="T5" fmla="*/ 3 h 5"/>
                    <a:gd name="T6" fmla="*/ 2 w 5"/>
                    <a:gd name="T7" fmla="*/ 0 h 5"/>
                    <a:gd name="T8" fmla="*/ 5 w 5"/>
                    <a:gd name="T9" fmla="*/ 2 h 5"/>
                  </a:gdLst>
                  <a:ahLst/>
                  <a:cxnLst>
                    <a:cxn ang="0">
                      <a:pos x="T0" y="T1"/>
                    </a:cxn>
                    <a:cxn ang="0">
                      <a:pos x="T2" y="T3"/>
                    </a:cxn>
                    <a:cxn ang="0">
                      <a:pos x="T4" y="T5"/>
                    </a:cxn>
                    <a:cxn ang="0">
                      <a:pos x="T6" y="T7"/>
                    </a:cxn>
                    <a:cxn ang="0">
                      <a:pos x="T8" y="T9"/>
                    </a:cxn>
                  </a:cxnLst>
                  <a:rect l="0" t="0" r="r" b="b"/>
                  <a:pathLst>
                    <a:path w="5" h="5">
                      <a:moveTo>
                        <a:pt x="5" y="2"/>
                      </a:moveTo>
                      <a:cubicBezTo>
                        <a:pt x="5" y="3"/>
                        <a:pt x="4" y="5"/>
                        <a:pt x="3" y="5"/>
                      </a:cubicBezTo>
                      <a:cubicBezTo>
                        <a:pt x="2" y="5"/>
                        <a:pt x="0" y="5"/>
                        <a:pt x="0" y="3"/>
                      </a:cubicBezTo>
                      <a:cubicBezTo>
                        <a:pt x="0" y="2"/>
                        <a:pt x="0" y="1"/>
                        <a:pt x="2" y="0"/>
                      </a:cubicBezTo>
                      <a:cubicBezTo>
                        <a:pt x="3" y="0"/>
                        <a:pt x="4" y="1"/>
                        <a:pt x="5" y="2"/>
                      </a:cubicBezTo>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44" name="Freeform 161"/>
                <p:cNvSpPr>
                  <a:spLocks/>
                </p:cNvSpPr>
                <p:nvPr/>
              </p:nvSpPr>
              <p:spPr bwMode="auto">
                <a:xfrm>
                  <a:off x="3789363" y="344487"/>
                  <a:ext cx="19050" cy="19050"/>
                </a:xfrm>
                <a:custGeom>
                  <a:avLst/>
                  <a:gdLst>
                    <a:gd name="T0" fmla="*/ 5 w 6"/>
                    <a:gd name="T1" fmla="*/ 2 h 6"/>
                    <a:gd name="T2" fmla="*/ 4 w 6"/>
                    <a:gd name="T3" fmla="*/ 5 h 6"/>
                    <a:gd name="T4" fmla="*/ 1 w 6"/>
                    <a:gd name="T5" fmla="*/ 3 h 6"/>
                    <a:gd name="T6" fmla="*/ 2 w 6"/>
                    <a:gd name="T7" fmla="*/ 0 h 6"/>
                    <a:gd name="T8" fmla="*/ 5 w 6"/>
                    <a:gd name="T9" fmla="*/ 2 h 6"/>
                  </a:gdLst>
                  <a:ahLst/>
                  <a:cxnLst>
                    <a:cxn ang="0">
                      <a:pos x="T0" y="T1"/>
                    </a:cxn>
                    <a:cxn ang="0">
                      <a:pos x="T2" y="T3"/>
                    </a:cxn>
                    <a:cxn ang="0">
                      <a:pos x="T4" y="T5"/>
                    </a:cxn>
                    <a:cxn ang="0">
                      <a:pos x="T6" y="T7"/>
                    </a:cxn>
                    <a:cxn ang="0">
                      <a:pos x="T8" y="T9"/>
                    </a:cxn>
                  </a:cxnLst>
                  <a:rect l="0" t="0" r="r" b="b"/>
                  <a:pathLst>
                    <a:path w="6" h="6">
                      <a:moveTo>
                        <a:pt x="5" y="2"/>
                      </a:moveTo>
                      <a:cubicBezTo>
                        <a:pt x="6" y="3"/>
                        <a:pt x="5" y="5"/>
                        <a:pt x="4" y="5"/>
                      </a:cubicBezTo>
                      <a:cubicBezTo>
                        <a:pt x="2" y="6"/>
                        <a:pt x="1" y="5"/>
                        <a:pt x="1" y="3"/>
                      </a:cubicBezTo>
                      <a:cubicBezTo>
                        <a:pt x="0" y="2"/>
                        <a:pt x="1" y="1"/>
                        <a:pt x="2" y="0"/>
                      </a:cubicBezTo>
                      <a:cubicBezTo>
                        <a:pt x="4" y="0"/>
                        <a:pt x="5" y="1"/>
                        <a:pt x="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745" name="Freeform 162"/>
                <p:cNvSpPr>
                  <a:spLocks/>
                </p:cNvSpPr>
                <p:nvPr/>
              </p:nvSpPr>
              <p:spPr bwMode="auto">
                <a:xfrm>
                  <a:off x="3573463" y="188912"/>
                  <a:ext cx="19050" cy="19050"/>
                </a:xfrm>
                <a:custGeom>
                  <a:avLst/>
                  <a:gdLst>
                    <a:gd name="T0" fmla="*/ 5 w 6"/>
                    <a:gd name="T1" fmla="*/ 2 h 6"/>
                    <a:gd name="T2" fmla="*/ 4 w 6"/>
                    <a:gd name="T3" fmla="*/ 6 h 6"/>
                    <a:gd name="T4" fmla="*/ 0 w 6"/>
                    <a:gd name="T5" fmla="*/ 4 h 6"/>
                    <a:gd name="T6" fmla="*/ 2 w 6"/>
                    <a:gd name="T7" fmla="*/ 1 h 6"/>
                    <a:gd name="T8" fmla="*/ 5 w 6"/>
                    <a:gd name="T9" fmla="*/ 2 h 6"/>
                  </a:gdLst>
                  <a:ahLst/>
                  <a:cxnLst>
                    <a:cxn ang="0">
                      <a:pos x="T0" y="T1"/>
                    </a:cxn>
                    <a:cxn ang="0">
                      <a:pos x="T2" y="T3"/>
                    </a:cxn>
                    <a:cxn ang="0">
                      <a:pos x="T4" y="T5"/>
                    </a:cxn>
                    <a:cxn ang="0">
                      <a:pos x="T6" y="T7"/>
                    </a:cxn>
                    <a:cxn ang="0">
                      <a:pos x="T8" y="T9"/>
                    </a:cxn>
                  </a:cxnLst>
                  <a:rect l="0" t="0" r="r" b="b"/>
                  <a:pathLst>
                    <a:path w="6" h="6">
                      <a:moveTo>
                        <a:pt x="5" y="2"/>
                      </a:moveTo>
                      <a:cubicBezTo>
                        <a:pt x="6" y="4"/>
                        <a:pt x="5" y="5"/>
                        <a:pt x="4" y="6"/>
                      </a:cubicBezTo>
                      <a:cubicBezTo>
                        <a:pt x="2" y="6"/>
                        <a:pt x="1" y="5"/>
                        <a:pt x="0" y="4"/>
                      </a:cubicBezTo>
                      <a:cubicBezTo>
                        <a:pt x="0" y="3"/>
                        <a:pt x="1" y="1"/>
                        <a:pt x="2" y="1"/>
                      </a:cubicBezTo>
                      <a:cubicBezTo>
                        <a:pt x="3" y="0"/>
                        <a:pt x="5" y="1"/>
                        <a:pt x="5" y="2"/>
                      </a:cubicBezTo>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grpSp>
          <p:sp>
            <p:nvSpPr>
              <p:cNvPr id="575" name="Rounded Rectangle 574"/>
              <p:cNvSpPr/>
              <p:nvPr/>
            </p:nvSpPr>
            <p:spPr bwMode="auto">
              <a:xfrm>
                <a:off x="3510591" y="2707920"/>
                <a:ext cx="751133" cy="751133"/>
              </a:xfrm>
              <a:prstGeom prst="roundRect">
                <a:avLst>
                  <a:gd name="adj" fmla="val 10961"/>
                </a:avLst>
              </a:prstGeom>
              <a:solidFill>
                <a:srgbClr val="666666"/>
              </a:solidFill>
              <a:ln w="12700" cap="flat" cmpd="sng" algn="ctr">
                <a:noFill/>
                <a:prstDash val="solid"/>
                <a:round/>
                <a:headEnd type="none" w="med" len="med"/>
                <a:tailEnd type="none" w="med" len="med"/>
              </a:ln>
              <a:effectLst/>
            </p:spPr>
            <p:txBody>
              <a:bodyPr vert="horz" wrap="square" lIns="18288" tIns="18288" rIns="18288" bIns="18288" numCol="1" rtlCol="0" anchor="b" anchorCtr="0" compatLnSpc="1">
                <a:prstTxWarp prst="textNoShape">
                  <a:avLst/>
                </a:prstTxWarp>
                <a:noAutofit/>
              </a:bodyPr>
              <a:lstStyle/>
              <a:p>
                <a:pPr algn="ctr"/>
                <a:r>
                  <a:rPr lang="tr-TR" sz="700" dirty="0">
                    <a:solidFill>
                      <a:srgbClr val="FFFFFF"/>
                    </a:solidFill>
                    <a:latin typeface="Calibri"/>
                  </a:rPr>
                  <a:t>SANAL</a:t>
                </a:r>
                <a:r>
                  <a:rPr lang="en-US" sz="700" dirty="0">
                    <a:solidFill>
                      <a:srgbClr val="FFFFFF"/>
                    </a:solidFill>
                    <a:latin typeface="Calibri"/>
                  </a:rPr>
                  <a:t> </a:t>
                </a:r>
                <a:r>
                  <a:rPr lang="tr-TR" sz="700" dirty="0">
                    <a:solidFill>
                      <a:srgbClr val="FFFFFF"/>
                    </a:solidFill>
                    <a:latin typeface="Calibri"/>
                  </a:rPr>
                  <a:t>GERÇEKLİK</a:t>
                </a:r>
                <a:endParaRPr lang="en-US" sz="700" dirty="0">
                  <a:solidFill>
                    <a:srgbClr val="FFFFFF"/>
                  </a:solidFill>
                  <a:latin typeface="Calibri"/>
                </a:endParaRPr>
              </a:p>
            </p:txBody>
          </p:sp>
          <p:grpSp>
            <p:nvGrpSpPr>
              <p:cNvPr id="576" name="Group 575"/>
              <p:cNvGrpSpPr/>
              <p:nvPr/>
            </p:nvGrpSpPr>
            <p:grpSpPr>
              <a:xfrm>
                <a:off x="3730819" y="2763028"/>
                <a:ext cx="310676" cy="309465"/>
                <a:chOff x="7593650" y="3324576"/>
                <a:chExt cx="797883" cy="794770"/>
              </a:xfrm>
            </p:grpSpPr>
            <p:sp>
              <p:nvSpPr>
                <p:cNvPr id="632" name="Oval 631"/>
                <p:cNvSpPr/>
                <p:nvPr/>
              </p:nvSpPr>
              <p:spPr>
                <a:xfrm>
                  <a:off x="7593650" y="3324576"/>
                  <a:ext cx="794774" cy="794770"/>
                </a:xfrm>
                <a:prstGeom prst="ellipse">
                  <a:avLst/>
                </a:prstGeom>
                <a:noFill/>
                <a:ln w="15875" cap="rnd" cmpd="sng" algn="ctr">
                  <a:solidFill>
                    <a:srgbClr val="FFFFFF"/>
                  </a:solidFill>
                  <a:prstDash val="sysDot"/>
                </a:ln>
                <a:effectLst/>
              </p:spPr>
              <p:txBody>
                <a:bodyPr rtlCol="0" anchor="ctr"/>
                <a:lstStyle/>
                <a:p>
                  <a:pPr algn="ctr">
                    <a:defRPr/>
                  </a:pPr>
                  <a:endParaRPr lang="en-US" sz="800" kern="0" dirty="0">
                    <a:solidFill>
                      <a:srgbClr val="FFFFFF"/>
                    </a:solidFill>
                    <a:latin typeface="Calibri"/>
                  </a:endParaRPr>
                </a:p>
              </p:txBody>
            </p:sp>
            <p:sp>
              <p:nvSpPr>
                <p:cNvPr id="633" name="Rectangle 173"/>
                <p:cNvSpPr>
                  <a:spLocks noChangeArrowheads="1"/>
                </p:cNvSpPr>
                <p:nvPr/>
              </p:nvSpPr>
              <p:spPr bwMode="auto">
                <a:xfrm>
                  <a:off x="8029301" y="3709518"/>
                  <a:ext cx="209176" cy="272097"/>
                </a:xfrm>
                <a:prstGeom prst="rect">
                  <a:avLst/>
                </a:prstGeom>
                <a:solidFill>
                  <a:srgbClr val="FFFFFF">
                    <a:alpha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34" name="Freeform 174"/>
                <p:cNvSpPr>
                  <a:spLocks noEditPoints="1"/>
                </p:cNvSpPr>
                <p:nvPr/>
              </p:nvSpPr>
              <p:spPr bwMode="auto">
                <a:xfrm>
                  <a:off x="7641560" y="3709518"/>
                  <a:ext cx="258494" cy="275498"/>
                </a:xfrm>
                <a:custGeom>
                  <a:avLst/>
                  <a:gdLst>
                    <a:gd name="T0" fmla="*/ 7 w 76"/>
                    <a:gd name="T1" fmla="*/ 71 h 81"/>
                    <a:gd name="T2" fmla="*/ 6 w 76"/>
                    <a:gd name="T3" fmla="*/ 70 h 81"/>
                    <a:gd name="T4" fmla="*/ 5 w 76"/>
                    <a:gd name="T5" fmla="*/ 69 h 81"/>
                    <a:gd name="T6" fmla="*/ 6 w 76"/>
                    <a:gd name="T7" fmla="*/ 67 h 81"/>
                    <a:gd name="T8" fmla="*/ 6 w 76"/>
                    <a:gd name="T9" fmla="*/ 67 h 81"/>
                    <a:gd name="T10" fmla="*/ 8 w 76"/>
                    <a:gd name="T11" fmla="*/ 68 h 81"/>
                    <a:gd name="T12" fmla="*/ 8 w 76"/>
                    <a:gd name="T13" fmla="*/ 68 h 81"/>
                    <a:gd name="T14" fmla="*/ 8 w 76"/>
                    <a:gd name="T15" fmla="*/ 70 h 81"/>
                    <a:gd name="T16" fmla="*/ 7 w 76"/>
                    <a:gd name="T17" fmla="*/ 71 h 81"/>
                    <a:gd name="T18" fmla="*/ 76 w 76"/>
                    <a:gd name="T19" fmla="*/ 0 h 81"/>
                    <a:gd name="T20" fmla="*/ 49 w 76"/>
                    <a:gd name="T21" fmla="*/ 0 h 81"/>
                    <a:gd name="T22" fmla="*/ 0 w 76"/>
                    <a:gd name="T23" fmla="*/ 76 h 81"/>
                    <a:gd name="T24" fmla="*/ 10 w 76"/>
                    <a:gd name="T25" fmla="*/ 81 h 81"/>
                    <a:gd name="T26" fmla="*/ 21 w 76"/>
                    <a:gd name="T27" fmla="*/ 81 h 81"/>
                    <a:gd name="T28" fmla="*/ 76 w 76"/>
                    <a:gd name="T2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81">
                      <a:moveTo>
                        <a:pt x="7" y="71"/>
                      </a:moveTo>
                      <a:cubicBezTo>
                        <a:pt x="6" y="71"/>
                        <a:pt x="6" y="70"/>
                        <a:pt x="6" y="70"/>
                      </a:cubicBezTo>
                      <a:cubicBezTo>
                        <a:pt x="5" y="69"/>
                        <a:pt x="5" y="69"/>
                        <a:pt x="5" y="69"/>
                      </a:cubicBezTo>
                      <a:cubicBezTo>
                        <a:pt x="5" y="69"/>
                        <a:pt x="5" y="68"/>
                        <a:pt x="6" y="67"/>
                      </a:cubicBezTo>
                      <a:cubicBezTo>
                        <a:pt x="6" y="67"/>
                        <a:pt x="6" y="67"/>
                        <a:pt x="6" y="67"/>
                      </a:cubicBezTo>
                      <a:cubicBezTo>
                        <a:pt x="7" y="67"/>
                        <a:pt x="7" y="67"/>
                        <a:pt x="8" y="68"/>
                      </a:cubicBezTo>
                      <a:cubicBezTo>
                        <a:pt x="8" y="68"/>
                        <a:pt x="8" y="68"/>
                        <a:pt x="8" y="68"/>
                      </a:cubicBezTo>
                      <a:cubicBezTo>
                        <a:pt x="9" y="69"/>
                        <a:pt x="8" y="70"/>
                        <a:pt x="8" y="70"/>
                      </a:cubicBezTo>
                      <a:cubicBezTo>
                        <a:pt x="7" y="71"/>
                        <a:pt x="7" y="71"/>
                        <a:pt x="7" y="71"/>
                      </a:cubicBezTo>
                      <a:moveTo>
                        <a:pt x="76" y="0"/>
                      </a:moveTo>
                      <a:cubicBezTo>
                        <a:pt x="49" y="0"/>
                        <a:pt x="49" y="0"/>
                        <a:pt x="49" y="0"/>
                      </a:cubicBezTo>
                      <a:cubicBezTo>
                        <a:pt x="0" y="76"/>
                        <a:pt x="0" y="76"/>
                        <a:pt x="0" y="76"/>
                      </a:cubicBezTo>
                      <a:cubicBezTo>
                        <a:pt x="1" y="79"/>
                        <a:pt x="4" y="81"/>
                        <a:pt x="10" y="81"/>
                      </a:cubicBezTo>
                      <a:cubicBezTo>
                        <a:pt x="21" y="81"/>
                        <a:pt x="21" y="81"/>
                        <a:pt x="21" y="81"/>
                      </a:cubicBezTo>
                      <a:cubicBezTo>
                        <a:pt x="76" y="0"/>
                        <a:pt x="76" y="0"/>
                        <a:pt x="76" y="0"/>
                      </a:cubicBezTo>
                    </a:path>
                  </a:pathLst>
                </a:custGeom>
                <a:solidFill>
                  <a:srgbClr val="FFFFFF">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35" name="Freeform 175"/>
                <p:cNvSpPr>
                  <a:spLocks/>
                </p:cNvSpPr>
                <p:nvPr/>
              </p:nvSpPr>
              <p:spPr bwMode="auto">
                <a:xfrm>
                  <a:off x="7658566" y="3937399"/>
                  <a:ext cx="13605" cy="13605"/>
                </a:xfrm>
                <a:custGeom>
                  <a:avLst/>
                  <a:gdLst>
                    <a:gd name="T0" fmla="*/ 1 w 4"/>
                    <a:gd name="T1" fmla="*/ 0 h 4"/>
                    <a:gd name="T2" fmla="*/ 1 w 4"/>
                    <a:gd name="T3" fmla="*/ 0 h 4"/>
                    <a:gd name="T4" fmla="*/ 0 w 4"/>
                    <a:gd name="T5" fmla="*/ 2 h 4"/>
                    <a:gd name="T6" fmla="*/ 1 w 4"/>
                    <a:gd name="T7" fmla="*/ 3 h 4"/>
                    <a:gd name="T8" fmla="*/ 2 w 4"/>
                    <a:gd name="T9" fmla="*/ 4 h 4"/>
                    <a:gd name="T10" fmla="*/ 3 w 4"/>
                    <a:gd name="T11" fmla="*/ 3 h 4"/>
                    <a:gd name="T12" fmla="*/ 3 w 4"/>
                    <a:gd name="T13" fmla="*/ 1 h 4"/>
                    <a:gd name="T14" fmla="*/ 3 w 4"/>
                    <a:gd name="T15" fmla="*/ 1 h 4"/>
                    <a:gd name="T16" fmla="*/ 1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1" y="0"/>
                      </a:moveTo>
                      <a:cubicBezTo>
                        <a:pt x="1" y="0"/>
                        <a:pt x="1" y="0"/>
                        <a:pt x="1" y="0"/>
                      </a:cubicBezTo>
                      <a:cubicBezTo>
                        <a:pt x="0" y="1"/>
                        <a:pt x="0" y="2"/>
                        <a:pt x="0" y="2"/>
                      </a:cubicBezTo>
                      <a:cubicBezTo>
                        <a:pt x="1" y="3"/>
                        <a:pt x="1" y="3"/>
                        <a:pt x="1" y="3"/>
                      </a:cubicBezTo>
                      <a:cubicBezTo>
                        <a:pt x="1" y="3"/>
                        <a:pt x="1" y="4"/>
                        <a:pt x="2" y="4"/>
                      </a:cubicBezTo>
                      <a:cubicBezTo>
                        <a:pt x="3" y="3"/>
                        <a:pt x="3" y="3"/>
                        <a:pt x="3" y="3"/>
                      </a:cubicBezTo>
                      <a:cubicBezTo>
                        <a:pt x="3" y="3"/>
                        <a:pt x="4" y="2"/>
                        <a:pt x="3" y="1"/>
                      </a:cubicBezTo>
                      <a:cubicBezTo>
                        <a:pt x="3" y="1"/>
                        <a:pt x="3" y="1"/>
                        <a:pt x="3" y="1"/>
                      </a:cubicBezTo>
                      <a:cubicBezTo>
                        <a:pt x="2" y="0"/>
                        <a:pt x="2" y="0"/>
                        <a:pt x="1" y="0"/>
                      </a:cubicBezTo>
                    </a:path>
                  </a:pathLst>
                </a:custGeom>
                <a:solidFill>
                  <a:srgbClr val="9B8D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36" name="Freeform 176"/>
                <p:cNvSpPr>
                  <a:spLocks/>
                </p:cNvSpPr>
                <p:nvPr/>
              </p:nvSpPr>
              <p:spPr bwMode="auto">
                <a:xfrm>
                  <a:off x="7750400" y="3709518"/>
                  <a:ext cx="292506" cy="275498"/>
                </a:xfrm>
                <a:custGeom>
                  <a:avLst/>
                  <a:gdLst>
                    <a:gd name="T0" fmla="*/ 70 w 86"/>
                    <a:gd name="T1" fmla="*/ 0 h 81"/>
                    <a:gd name="T2" fmla="*/ 56 w 86"/>
                    <a:gd name="T3" fmla="*/ 0 h 81"/>
                    <a:gd name="T4" fmla="*/ 0 w 86"/>
                    <a:gd name="T5" fmla="*/ 81 h 81"/>
                    <a:gd name="T6" fmla="*/ 34 w 86"/>
                    <a:gd name="T7" fmla="*/ 81 h 81"/>
                    <a:gd name="T8" fmla="*/ 59 w 86"/>
                    <a:gd name="T9" fmla="*/ 42 h 81"/>
                    <a:gd name="T10" fmla="*/ 59 w 86"/>
                    <a:gd name="T11" fmla="*/ 35 h 81"/>
                    <a:gd name="T12" fmla="*/ 70 w 86"/>
                    <a:gd name="T13" fmla="*/ 23 h 81"/>
                    <a:gd name="T14" fmla="*/ 71 w 86"/>
                    <a:gd name="T15" fmla="*/ 23 h 81"/>
                    <a:gd name="T16" fmla="*/ 86 w 86"/>
                    <a:gd name="T17" fmla="*/ 0 h 81"/>
                    <a:gd name="T18" fmla="*/ 70 w 86"/>
                    <a:gd name="T1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81">
                      <a:moveTo>
                        <a:pt x="70" y="0"/>
                      </a:moveTo>
                      <a:cubicBezTo>
                        <a:pt x="56" y="0"/>
                        <a:pt x="56" y="0"/>
                        <a:pt x="56" y="0"/>
                      </a:cubicBezTo>
                      <a:cubicBezTo>
                        <a:pt x="0" y="81"/>
                        <a:pt x="0" y="81"/>
                        <a:pt x="0" y="81"/>
                      </a:cubicBezTo>
                      <a:cubicBezTo>
                        <a:pt x="34" y="81"/>
                        <a:pt x="34" y="81"/>
                        <a:pt x="34" y="81"/>
                      </a:cubicBezTo>
                      <a:cubicBezTo>
                        <a:pt x="59" y="42"/>
                        <a:pt x="59" y="42"/>
                        <a:pt x="59" y="42"/>
                      </a:cubicBezTo>
                      <a:cubicBezTo>
                        <a:pt x="59" y="35"/>
                        <a:pt x="59" y="35"/>
                        <a:pt x="59" y="35"/>
                      </a:cubicBezTo>
                      <a:cubicBezTo>
                        <a:pt x="59" y="35"/>
                        <a:pt x="59" y="23"/>
                        <a:pt x="70" y="23"/>
                      </a:cubicBezTo>
                      <a:cubicBezTo>
                        <a:pt x="71" y="23"/>
                        <a:pt x="71" y="23"/>
                        <a:pt x="71" y="23"/>
                      </a:cubicBezTo>
                      <a:cubicBezTo>
                        <a:pt x="86" y="0"/>
                        <a:pt x="86" y="0"/>
                        <a:pt x="86" y="0"/>
                      </a:cubicBezTo>
                      <a:cubicBezTo>
                        <a:pt x="70" y="0"/>
                        <a:pt x="70" y="0"/>
                        <a:pt x="70" y="0"/>
                      </a:cubicBezTo>
                    </a:path>
                  </a:pathLst>
                </a:custGeom>
                <a:solidFill>
                  <a:srgbClr val="FFFFFF">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37" name="Freeform 177"/>
                <p:cNvSpPr>
                  <a:spLocks/>
                </p:cNvSpPr>
                <p:nvPr/>
              </p:nvSpPr>
              <p:spPr bwMode="auto">
                <a:xfrm>
                  <a:off x="7634758" y="3709518"/>
                  <a:ext cx="54420" cy="81629"/>
                </a:xfrm>
                <a:custGeom>
                  <a:avLst/>
                  <a:gdLst>
                    <a:gd name="T0" fmla="*/ 32 w 32"/>
                    <a:gd name="T1" fmla="*/ 0 h 48"/>
                    <a:gd name="T2" fmla="*/ 0 w 32"/>
                    <a:gd name="T3" fmla="*/ 0 h 48"/>
                    <a:gd name="T4" fmla="*/ 0 w 32"/>
                    <a:gd name="T5" fmla="*/ 48 h 48"/>
                    <a:gd name="T6" fmla="*/ 32 w 32"/>
                    <a:gd name="T7" fmla="*/ 0 h 48"/>
                  </a:gdLst>
                  <a:ahLst/>
                  <a:cxnLst>
                    <a:cxn ang="0">
                      <a:pos x="T0" y="T1"/>
                    </a:cxn>
                    <a:cxn ang="0">
                      <a:pos x="T2" y="T3"/>
                    </a:cxn>
                    <a:cxn ang="0">
                      <a:pos x="T4" y="T5"/>
                    </a:cxn>
                    <a:cxn ang="0">
                      <a:pos x="T6" y="T7"/>
                    </a:cxn>
                  </a:cxnLst>
                  <a:rect l="0" t="0" r="r" b="b"/>
                  <a:pathLst>
                    <a:path w="32" h="48">
                      <a:moveTo>
                        <a:pt x="32" y="0"/>
                      </a:moveTo>
                      <a:lnTo>
                        <a:pt x="0" y="0"/>
                      </a:lnTo>
                      <a:lnTo>
                        <a:pt x="0" y="48"/>
                      </a:lnTo>
                      <a:lnTo>
                        <a:pt x="32" y="0"/>
                      </a:lnTo>
                      <a:close/>
                    </a:path>
                  </a:pathLst>
                </a:custGeom>
                <a:solidFill>
                  <a:srgbClr val="FFE5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38" name="Freeform 178"/>
                <p:cNvSpPr>
                  <a:spLocks/>
                </p:cNvSpPr>
                <p:nvPr/>
              </p:nvSpPr>
              <p:spPr bwMode="auto">
                <a:xfrm>
                  <a:off x="7634758" y="3709518"/>
                  <a:ext cx="54420" cy="81629"/>
                </a:xfrm>
                <a:custGeom>
                  <a:avLst/>
                  <a:gdLst>
                    <a:gd name="T0" fmla="*/ 32 w 32"/>
                    <a:gd name="T1" fmla="*/ 0 h 48"/>
                    <a:gd name="T2" fmla="*/ 0 w 32"/>
                    <a:gd name="T3" fmla="*/ 0 h 48"/>
                    <a:gd name="T4" fmla="*/ 0 w 32"/>
                    <a:gd name="T5" fmla="*/ 48 h 48"/>
                    <a:gd name="T6" fmla="*/ 32 w 32"/>
                    <a:gd name="T7" fmla="*/ 0 h 48"/>
                  </a:gdLst>
                  <a:ahLst/>
                  <a:cxnLst>
                    <a:cxn ang="0">
                      <a:pos x="T0" y="T1"/>
                    </a:cxn>
                    <a:cxn ang="0">
                      <a:pos x="T2" y="T3"/>
                    </a:cxn>
                    <a:cxn ang="0">
                      <a:pos x="T4" y="T5"/>
                    </a:cxn>
                    <a:cxn ang="0">
                      <a:pos x="T6" y="T7"/>
                    </a:cxn>
                  </a:cxnLst>
                  <a:rect l="0" t="0" r="r" b="b"/>
                  <a:pathLst>
                    <a:path w="32" h="48">
                      <a:moveTo>
                        <a:pt x="32" y="0"/>
                      </a:moveTo>
                      <a:lnTo>
                        <a:pt x="0" y="0"/>
                      </a:lnTo>
                      <a:lnTo>
                        <a:pt x="0" y="48"/>
                      </a:lnTo>
                      <a:lnTo>
                        <a:pt x="32"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39" name="Freeform 179"/>
                <p:cNvSpPr>
                  <a:spLocks/>
                </p:cNvSpPr>
                <p:nvPr/>
              </p:nvSpPr>
              <p:spPr bwMode="auto">
                <a:xfrm>
                  <a:off x="8075218" y="3709518"/>
                  <a:ext cx="255093" cy="275498"/>
                </a:xfrm>
                <a:custGeom>
                  <a:avLst/>
                  <a:gdLst>
                    <a:gd name="T0" fmla="*/ 112 w 150"/>
                    <a:gd name="T1" fmla="*/ 0 h 162"/>
                    <a:gd name="T2" fmla="*/ 0 w 150"/>
                    <a:gd name="T3" fmla="*/ 162 h 162"/>
                    <a:gd name="T4" fmla="*/ 42 w 150"/>
                    <a:gd name="T5" fmla="*/ 162 h 162"/>
                    <a:gd name="T6" fmla="*/ 150 w 150"/>
                    <a:gd name="T7" fmla="*/ 0 h 162"/>
                    <a:gd name="T8" fmla="*/ 112 w 150"/>
                    <a:gd name="T9" fmla="*/ 0 h 162"/>
                  </a:gdLst>
                  <a:ahLst/>
                  <a:cxnLst>
                    <a:cxn ang="0">
                      <a:pos x="T0" y="T1"/>
                    </a:cxn>
                    <a:cxn ang="0">
                      <a:pos x="T2" y="T3"/>
                    </a:cxn>
                    <a:cxn ang="0">
                      <a:pos x="T4" y="T5"/>
                    </a:cxn>
                    <a:cxn ang="0">
                      <a:pos x="T6" y="T7"/>
                    </a:cxn>
                    <a:cxn ang="0">
                      <a:pos x="T8" y="T9"/>
                    </a:cxn>
                  </a:cxnLst>
                  <a:rect l="0" t="0" r="r" b="b"/>
                  <a:pathLst>
                    <a:path w="150" h="162">
                      <a:moveTo>
                        <a:pt x="112" y="0"/>
                      </a:moveTo>
                      <a:lnTo>
                        <a:pt x="0" y="162"/>
                      </a:lnTo>
                      <a:lnTo>
                        <a:pt x="42" y="162"/>
                      </a:lnTo>
                      <a:lnTo>
                        <a:pt x="150" y="0"/>
                      </a:lnTo>
                      <a:lnTo>
                        <a:pt x="1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40" name="Freeform 180"/>
                <p:cNvSpPr>
                  <a:spLocks/>
                </p:cNvSpPr>
                <p:nvPr/>
              </p:nvSpPr>
              <p:spPr bwMode="auto">
                <a:xfrm>
                  <a:off x="8075218" y="3709518"/>
                  <a:ext cx="255093" cy="275498"/>
                </a:xfrm>
                <a:custGeom>
                  <a:avLst/>
                  <a:gdLst>
                    <a:gd name="T0" fmla="*/ 112 w 150"/>
                    <a:gd name="T1" fmla="*/ 0 h 162"/>
                    <a:gd name="T2" fmla="*/ 0 w 150"/>
                    <a:gd name="T3" fmla="*/ 162 h 162"/>
                    <a:gd name="T4" fmla="*/ 42 w 150"/>
                    <a:gd name="T5" fmla="*/ 162 h 162"/>
                    <a:gd name="T6" fmla="*/ 150 w 150"/>
                    <a:gd name="T7" fmla="*/ 0 h 162"/>
                    <a:gd name="T8" fmla="*/ 112 w 150"/>
                    <a:gd name="T9" fmla="*/ 0 h 162"/>
                  </a:gdLst>
                  <a:ahLst/>
                  <a:cxnLst>
                    <a:cxn ang="0">
                      <a:pos x="T0" y="T1"/>
                    </a:cxn>
                    <a:cxn ang="0">
                      <a:pos x="T2" y="T3"/>
                    </a:cxn>
                    <a:cxn ang="0">
                      <a:pos x="T4" y="T5"/>
                    </a:cxn>
                    <a:cxn ang="0">
                      <a:pos x="T6" y="T7"/>
                    </a:cxn>
                    <a:cxn ang="0">
                      <a:pos x="T8" y="T9"/>
                    </a:cxn>
                  </a:cxnLst>
                  <a:rect l="0" t="0" r="r" b="b"/>
                  <a:pathLst>
                    <a:path w="150" h="162">
                      <a:moveTo>
                        <a:pt x="112" y="0"/>
                      </a:moveTo>
                      <a:lnTo>
                        <a:pt x="0" y="162"/>
                      </a:lnTo>
                      <a:lnTo>
                        <a:pt x="42" y="162"/>
                      </a:lnTo>
                      <a:lnTo>
                        <a:pt x="150" y="0"/>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41" name="Freeform 181"/>
                <p:cNvSpPr>
                  <a:spLocks/>
                </p:cNvSpPr>
                <p:nvPr/>
              </p:nvSpPr>
              <p:spPr bwMode="auto">
                <a:xfrm>
                  <a:off x="7634758" y="3709518"/>
                  <a:ext cx="173463" cy="258492"/>
                </a:xfrm>
                <a:custGeom>
                  <a:avLst/>
                  <a:gdLst>
                    <a:gd name="T0" fmla="*/ 16 w 51"/>
                    <a:gd name="T1" fmla="*/ 0 h 76"/>
                    <a:gd name="T2" fmla="*/ 0 w 51"/>
                    <a:gd name="T3" fmla="*/ 24 h 76"/>
                    <a:gd name="T4" fmla="*/ 0 w 51"/>
                    <a:gd name="T5" fmla="*/ 70 h 76"/>
                    <a:gd name="T6" fmla="*/ 2 w 51"/>
                    <a:gd name="T7" fmla="*/ 76 h 76"/>
                    <a:gd name="T8" fmla="*/ 51 w 51"/>
                    <a:gd name="T9" fmla="*/ 0 h 76"/>
                    <a:gd name="T10" fmla="*/ 16 w 51"/>
                    <a:gd name="T11" fmla="*/ 0 h 76"/>
                  </a:gdLst>
                  <a:ahLst/>
                  <a:cxnLst>
                    <a:cxn ang="0">
                      <a:pos x="T0" y="T1"/>
                    </a:cxn>
                    <a:cxn ang="0">
                      <a:pos x="T2" y="T3"/>
                    </a:cxn>
                    <a:cxn ang="0">
                      <a:pos x="T4" y="T5"/>
                    </a:cxn>
                    <a:cxn ang="0">
                      <a:pos x="T6" y="T7"/>
                    </a:cxn>
                    <a:cxn ang="0">
                      <a:pos x="T8" y="T9"/>
                    </a:cxn>
                    <a:cxn ang="0">
                      <a:pos x="T10" y="T11"/>
                    </a:cxn>
                  </a:cxnLst>
                  <a:rect l="0" t="0" r="r" b="b"/>
                  <a:pathLst>
                    <a:path w="51" h="76">
                      <a:moveTo>
                        <a:pt x="16" y="0"/>
                      </a:moveTo>
                      <a:cubicBezTo>
                        <a:pt x="0" y="24"/>
                        <a:pt x="0" y="24"/>
                        <a:pt x="0" y="24"/>
                      </a:cubicBezTo>
                      <a:cubicBezTo>
                        <a:pt x="0" y="70"/>
                        <a:pt x="0" y="70"/>
                        <a:pt x="0" y="70"/>
                      </a:cubicBezTo>
                      <a:cubicBezTo>
                        <a:pt x="0" y="70"/>
                        <a:pt x="0" y="73"/>
                        <a:pt x="2" y="76"/>
                      </a:cubicBezTo>
                      <a:cubicBezTo>
                        <a:pt x="51" y="0"/>
                        <a:pt x="51" y="0"/>
                        <a:pt x="51" y="0"/>
                      </a:cubicBez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42" name="Freeform 182"/>
                <p:cNvSpPr>
                  <a:spLocks/>
                </p:cNvSpPr>
                <p:nvPr/>
              </p:nvSpPr>
              <p:spPr bwMode="auto">
                <a:xfrm>
                  <a:off x="7712986" y="3709518"/>
                  <a:ext cx="227883" cy="275498"/>
                </a:xfrm>
                <a:custGeom>
                  <a:avLst/>
                  <a:gdLst>
                    <a:gd name="T0" fmla="*/ 110 w 134"/>
                    <a:gd name="T1" fmla="*/ 0 h 162"/>
                    <a:gd name="T2" fmla="*/ 0 w 134"/>
                    <a:gd name="T3" fmla="*/ 162 h 162"/>
                    <a:gd name="T4" fmla="*/ 22 w 134"/>
                    <a:gd name="T5" fmla="*/ 162 h 162"/>
                    <a:gd name="T6" fmla="*/ 134 w 134"/>
                    <a:gd name="T7" fmla="*/ 0 h 162"/>
                    <a:gd name="T8" fmla="*/ 110 w 134"/>
                    <a:gd name="T9" fmla="*/ 0 h 162"/>
                  </a:gdLst>
                  <a:ahLst/>
                  <a:cxnLst>
                    <a:cxn ang="0">
                      <a:pos x="T0" y="T1"/>
                    </a:cxn>
                    <a:cxn ang="0">
                      <a:pos x="T2" y="T3"/>
                    </a:cxn>
                    <a:cxn ang="0">
                      <a:pos x="T4" y="T5"/>
                    </a:cxn>
                    <a:cxn ang="0">
                      <a:pos x="T6" y="T7"/>
                    </a:cxn>
                    <a:cxn ang="0">
                      <a:pos x="T8" y="T9"/>
                    </a:cxn>
                  </a:cxnLst>
                  <a:rect l="0" t="0" r="r" b="b"/>
                  <a:pathLst>
                    <a:path w="134" h="162">
                      <a:moveTo>
                        <a:pt x="110" y="0"/>
                      </a:moveTo>
                      <a:lnTo>
                        <a:pt x="0" y="162"/>
                      </a:lnTo>
                      <a:lnTo>
                        <a:pt x="22" y="162"/>
                      </a:lnTo>
                      <a:lnTo>
                        <a:pt x="134" y="0"/>
                      </a:lnTo>
                      <a:lnTo>
                        <a:pt x="1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43" name="Freeform 183"/>
                <p:cNvSpPr>
                  <a:spLocks/>
                </p:cNvSpPr>
                <p:nvPr/>
              </p:nvSpPr>
              <p:spPr bwMode="auto">
                <a:xfrm>
                  <a:off x="7866042" y="3852368"/>
                  <a:ext cx="85031" cy="132647"/>
                </a:xfrm>
                <a:custGeom>
                  <a:avLst/>
                  <a:gdLst>
                    <a:gd name="T0" fmla="*/ 25 w 25"/>
                    <a:gd name="T1" fmla="*/ 28 h 39"/>
                    <a:gd name="T2" fmla="*/ 25 w 25"/>
                    <a:gd name="T3" fmla="*/ 0 h 39"/>
                    <a:gd name="T4" fmla="*/ 0 w 25"/>
                    <a:gd name="T5" fmla="*/ 39 h 39"/>
                    <a:gd name="T6" fmla="*/ 13 w 25"/>
                    <a:gd name="T7" fmla="*/ 39 h 39"/>
                    <a:gd name="T8" fmla="*/ 25 w 25"/>
                    <a:gd name="T9" fmla="*/ 28 h 39"/>
                  </a:gdLst>
                  <a:ahLst/>
                  <a:cxnLst>
                    <a:cxn ang="0">
                      <a:pos x="T0" y="T1"/>
                    </a:cxn>
                    <a:cxn ang="0">
                      <a:pos x="T2" y="T3"/>
                    </a:cxn>
                    <a:cxn ang="0">
                      <a:pos x="T4" y="T5"/>
                    </a:cxn>
                    <a:cxn ang="0">
                      <a:pos x="T6" y="T7"/>
                    </a:cxn>
                    <a:cxn ang="0">
                      <a:pos x="T8" y="T9"/>
                    </a:cxn>
                  </a:cxnLst>
                  <a:rect l="0" t="0" r="r" b="b"/>
                  <a:pathLst>
                    <a:path w="25" h="39">
                      <a:moveTo>
                        <a:pt x="25" y="28"/>
                      </a:moveTo>
                      <a:cubicBezTo>
                        <a:pt x="25" y="0"/>
                        <a:pt x="25" y="0"/>
                        <a:pt x="25" y="0"/>
                      </a:cubicBezTo>
                      <a:cubicBezTo>
                        <a:pt x="0" y="39"/>
                        <a:pt x="0" y="39"/>
                        <a:pt x="0" y="39"/>
                      </a:cubicBezTo>
                      <a:cubicBezTo>
                        <a:pt x="13" y="39"/>
                        <a:pt x="13" y="39"/>
                        <a:pt x="13" y="39"/>
                      </a:cubicBezTo>
                      <a:cubicBezTo>
                        <a:pt x="13" y="39"/>
                        <a:pt x="25" y="39"/>
                        <a:pt x="25" y="2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44" name="Freeform 184"/>
                <p:cNvSpPr>
                  <a:spLocks/>
                </p:cNvSpPr>
                <p:nvPr/>
              </p:nvSpPr>
              <p:spPr bwMode="auto">
                <a:xfrm>
                  <a:off x="7991887" y="3709518"/>
                  <a:ext cx="195572" cy="241486"/>
                </a:xfrm>
                <a:custGeom>
                  <a:avLst/>
                  <a:gdLst>
                    <a:gd name="T0" fmla="*/ 15 w 57"/>
                    <a:gd name="T1" fmla="*/ 0 h 71"/>
                    <a:gd name="T2" fmla="*/ 0 w 57"/>
                    <a:gd name="T3" fmla="*/ 23 h 71"/>
                    <a:gd name="T4" fmla="*/ 11 w 57"/>
                    <a:gd name="T5" fmla="*/ 35 h 71"/>
                    <a:gd name="T6" fmla="*/ 11 w 57"/>
                    <a:gd name="T7" fmla="*/ 70 h 71"/>
                    <a:gd name="T8" fmla="*/ 11 w 57"/>
                    <a:gd name="T9" fmla="*/ 71 h 71"/>
                    <a:gd name="T10" fmla="*/ 57 w 57"/>
                    <a:gd name="T11" fmla="*/ 0 h 71"/>
                    <a:gd name="T12" fmla="*/ 15 w 57"/>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57" h="71">
                      <a:moveTo>
                        <a:pt x="15" y="0"/>
                      </a:moveTo>
                      <a:cubicBezTo>
                        <a:pt x="0" y="23"/>
                        <a:pt x="0" y="23"/>
                        <a:pt x="0" y="23"/>
                      </a:cubicBezTo>
                      <a:cubicBezTo>
                        <a:pt x="11" y="24"/>
                        <a:pt x="11" y="35"/>
                        <a:pt x="11" y="35"/>
                      </a:cubicBezTo>
                      <a:cubicBezTo>
                        <a:pt x="11" y="70"/>
                        <a:pt x="11" y="70"/>
                        <a:pt x="11" y="70"/>
                      </a:cubicBezTo>
                      <a:cubicBezTo>
                        <a:pt x="11" y="70"/>
                        <a:pt x="11" y="71"/>
                        <a:pt x="11" y="71"/>
                      </a:cubicBezTo>
                      <a:cubicBezTo>
                        <a:pt x="57" y="0"/>
                        <a:pt x="57" y="0"/>
                        <a:pt x="57" y="0"/>
                      </a:cubicBezTo>
                      <a:lnTo>
                        <a:pt x="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45" name="Freeform 185"/>
                <p:cNvSpPr>
                  <a:spLocks/>
                </p:cNvSpPr>
                <p:nvPr/>
              </p:nvSpPr>
              <p:spPr bwMode="auto">
                <a:xfrm>
                  <a:off x="8049708" y="3709518"/>
                  <a:ext cx="215979" cy="275498"/>
                </a:xfrm>
                <a:custGeom>
                  <a:avLst/>
                  <a:gdLst>
                    <a:gd name="T0" fmla="*/ 55 w 63"/>
                    <a:gd name="T1" fmla="*/ 0 h 81"/>
                    <a:gd name="T2" fmla="*/ 55 w 63"/>
                    <a:gd name="T3" fmla="*/ 0 h 81"/>
                    <a:gd name="T4" fmla="*/ 0 w 63"/>
                    <a:gd name="T5" fmla="*/ 80 h 81"/>
                    <a:gd name="T6" fmla="*/ 6 w 63"/>
                    <a:gd name="T7" fmla="*/ 81 h 81"/>
                    <a:gd name="T8" fmla="*/ 7 w 63"/>
                    <a:gd name="T9" fmla="*/ 81 h 81"/>
                    <a:gd name="T10" fmla="*/ 63 w 63"/>
                    <a:gd name="T11" fmla="*/ 0 h 81"/>
                    <a:gd name="T12" fmla="*/ 55 w 6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63" h="81">
                      <a:moveTo>
                        <a:pt x="55" y="0"/>
                      </a:moveTo>
                      <a:cubicBezTo>
                        <a:pt x="55" y="0"/>
                        <a:pt x="55" y="0"/>
                        <a:pt x="55" y="0"/>
                      </a:cubicBezTo>
                      <a:cubicBezTo>
                        <a:pt x="0" y="80"/>
                        <a:pt x="0" y="80"/>
                        <a:pt x="0" y="80"/>
                      </a:cubicBezTo>
                      <a:cubicBezTo>
                        <a:pt x="3" y="81"/>
                        <a:pt x="6" y="81"/>
                        <a:pt x="6" y="81"/>
                      </a:cubicBezTo>
                      <a:cubicBezTo>
                        <a:pt x="7" y="81"/>
                        <a:pt x="7" y="81"/>
                        <a:pt x="7" y="81"/>
                      </a:cubicBezTo>
                      <a:cubicBezTo>
                        <a:pt x="63" y="0"/>
                        <a:pt x="63" y="0"/>
                        <a:pt x="63" y="0"/>
                      </a:cubicBezTo>
                      <a:cubicBezTo>
                        <a:pt x="55" y="0"/>
                        <a:pt x="55" y="0"/>
                        <a:pt x="5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46" name="Freeform 186"/>
                <p:cNvSpPr>
                  <a:spLocks noEditPoints="1"/>
                </p:cNvSpPr>
                <p:nvPr/>
              </p:nvSpPr>
              <p:spPr bwMode="auto">
                <a:xfrm>
                  <a:off x="8146644" y="3709518"/>
                  <a:ext cx="200673" cy="275498"/>
                </a:xfrm>
                <a:custGeom>
                  <a:avLst/>
                  <a:gdLst>
                    <a:gd name="T0" fmla="*/ 53 w 59"/>
                    <a:gd name="T1" fmla="*/ 66 h 81"/>
                    <a:gd name="T2" fmla="*/ 52 w 59"/>
                    <a:gd name="T3" fmla="*/ 66 h 81"/>
                    <a:gd name="T4" fmla="*/ 52 w 59"/>
                    <a:gd name="T5" fmla="*/ 64 h 81"/>
                    <a:gd name="T6" fmla="*/ 52 w 59"/>
                    <a:gd name="T7" fmla="*/ 63 h 81"/>
                    <a:gd name="T8" fmla="*/ 53 w 59"/>
                    <a:gd name="T9" fmla="*/ 63 h 81"/>
                    <a:gd name="T10" fmla="*/ 54 w 59"/>
                    <a:gd name="T11" fmla="*/ 63 h 81"/>
                    <a:gd name="T12" fmla="*/ 55 w 59"/>
                    <a:gd name="T13" fmla="*/ 65 h 81"/>
                    <a:gd name="T14" fmla="*/ 54 w 59"/>
                    <a:gd name="T15" fmla="*/ 65 h 81"/>
                    <a:gd name="T16" fmla="*/ 53 w 59"/>
                    <a:gd name="T17" fmla="*/ 66 h 81"/>
                    <a:gd name="T18" fmla="*/ 54 w 59"/>
                    <a:gd name="T19" fmla="*/ 0 h 81"/>
                    <a:gd name="T20" fmla="*/ 54 w 59"/>
                    <a:gd name="T21" fmla="*/ 0 h 81"/>
                    <a:gd name="T22" fmla="*/ 0 w 59"/>
                    <a:gd name="T23" fmla="*/ 81 h 81"/>
                    <a:gd name="T24" fmla="*/ 39 w 59"/>
                    <a:gd name="T25" fmla="*/ 81 h 81"/>
                    <a:gd name="T26" fmla="*/ 39 w 59"/>
                    <a:gd name="T27" fmla="*/ 80 h 81"/>
                    <a:gd name="T28" fmla="*/ 40 w 59"/>
                    <a:gd name="T29" fmla="*/ 80 h 81"/>
                    <a:gd name="T30" fmla="*/ 41 w 59"/>
                    <a:gd name="T31" fmla="*/ 79 h 81"/>
                    <a:gd name="T32" fmla="*/ 42 w 59"/>
                    <a:gd name="T33" fmla="*/ 80 h 81"/>
                    <a:gd name="T34" fmla="*/ 42 w 59"/>
                    <a:gd name="T35" fmla="*/ 81 h 81"/>
                    <a:gd name="T36" fmla="*/ 47 w 59"/>
                    <a:gd name="T37" fmla="*/ 81 h 81"/>
                    <a:gd name="T38" fmla="*/ 59 w 59"/>
                    <a:gd name="T39" fmla="*/ 70 h 81"/>
                    <a:gd name="T40" fmla="*/ 59 w 59"/>
                    <a:gd name="T41" fmla="*/ 0 h 81"/>
                    <a:gd name="T42" fmla="*/ 54 w 59"/>
                    <a:gd name="T4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 h="81">
                      <a:moveTo>
                        <a:pt x="53" y="66"/>
                      </a:moveTo>
                      <a:cubicBezTo>
                        <a:pt x="52" y="66"/>
                        <a:pt x="52" y="66"/>
                        <a:pt x="52" y="66"/>
                      </a:cubicBezTo>
                      <a:cubicBezTo>
                        <a:pt x="52" y="65"/>
                        <a:pt x="51" y="65"/>
                        <a:pt x="52" y="64"/>
                      </a:cubicBezTo>
                      <a:cubicBezTo>
                        <a:pt x="52" y="63"/>
                        <a:pt x="52" y="63"/>
                        <a:pt x="52" y="63"/>
                      </a:cubicBezTo>
                      <a:cubicBezTo>
                        <a:pt x="52" y="63"/>
                        <a:pt x="53" y="63"/>
                        <a:pt x="53" y="63"/>
                      </a:cubicBezTo>
                      <a:cubicBezTo>
                        <a:pt x="54" y="63"/>
                        <a:pt x="54" y="63"/>
                        <a:pt x="54" y="63"/>
                      </a:cubicBezTo>
                      <a:cubicBezTo>
                        <a:pt x="55" y="63"/>
                        <a:pt x="55" y="64"/>
                        <a:pt x="55" y="65"/>
                      </a:cubicBezTo>
                      <a:cubicBezTo>
                        <a:pt x="54" y="65"/>
                        <a:pt x="54" y="65"/>
                        <a:pt x="54" y="65"/>
                      </a:cubicBezTo>
                      <a:cubicBezTo>
                        <a:pt x="54" y="66"/>
                        <a:pt x="53" y="66"/>
                        <a:pt x="53" y="66"/>
                      </a:cubicBezTo>
                      <a:moveTo>
                        <a:pt x="54" y="0"/>
                      </a:moveTo>
                      <a:cubicBezTo>
                        <a:pt x="54" y="0"/>
                        <a:pt x="54" y="0"/>
                        <a:pt x="54" y="0"/>
                      </a:cubicBezTo>
                      <a:cubicBezTo>
                        <a:pt x="0" y="81"/>
                        <a:pt x="0" y="81"/>
                        <a:pt x="0" y="81"/>
                      </a:cubicBezTo>
                      <a:cubicBezTo>
                        <a:pt x="39" y="81"/>
                        <a:pt x="39" y="81"/>
                        <a:pt x="39" y="81"/>
                      </a:cubicBezTo>
                      <a:cubicBezTo>
                        <a:pt x="39" y="81"/>
                        <a:pt x="39" y="81"/>
                        <a:pt x="39" y="80"/>
                      </a:cubicBezTo>
                      <a:cubicBezTo>
                        <a:pt x="40" y="80"/>
                        <a:pt x="40" y="80"/>
                        <a:pt x="40" y="80"/>
                      </a:cubicBezTo>
                      <a:cubicBezTo>
                        <a:pt x="40" y="80"/>
                        <a:pt x="40" y="79"/>
                        <a:pt x="41" y="79"/>
                      </a:cubicBezTo>
                      <a:cubicBezTo>
                        <a:pt x="41" y="79"/>
                        <a:pt x="42" y="80"/>
                        <a:pt x="42" y="80"/>
                      </a:cubicBezTo>
                      <a:cubicBezTo>
                        <a:pt x="42" y="80"/>
                        <a:pt x="42" y="81"/>
                        <a:pt x="42" y="81"/>
                      </a:cubicBezTo>
                      <a:cubicBezTo>
                        <a:pt x="47" y="81"/>
                        <a:pt x="47" y="81"/>
                        <a:pt x="47" y="81"/>
                      </a:cubicBezTo>
                      <a:cubicBezTo>
                        <a:pt x="59" y="81"/>
                        <a:pt x="59" y="70"/>
                        <a:pt x="59" y="70"/>
                      </a:cubicBezTo>
                      <a:cubicBezTo>
                        <a:pt x="59" y="0"/>
                        <a:pt x="59" y="0"/>
                        <a:pt x="59" y="0"/>
                      </a:cubicBezTo>
                      <a:cubicBezTo>
                        <a:pt x="54" y="0"/>
                        <a:pt x="54" y="0"/>
                        <a:pt x="54" y="0"/>
                      </a:cubicBezTo>
                    </a:path>
                  </a:pathLst>
                </a:custGeom>
                <a:solidFill>
                  <a:srgbClr val="FFFFFF">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47" name="Freeform 187"/>
                <p:cNvSpPr>
                  <a:spLocks noEditPoints="1"/>
                </p:cNvSpPr>
                <p:nvPr/>
              </p:nvSpPr>
              <p:spPr bwMode="auto">
                <a:xfrm>
                  <a:off x="8279292" y="3923794"/>
                  <a:ext cx="54420" cy="61222"/>
                </a:xfrm>
                <a:custGeom>
                  <a:avLst/>
                  <a:gdLst>
                    <a:gd name="T0" fmla="*/ 2 w 16"/>
                    <a:gd name="T1" fmla="*/ 16 h 18"/>
                    <a:gd name="T2" fmla="*/ 1 w 16"/>
                    <a:gd name="T3" fmla="*/ 17 h 18"/>
                    <a:gd name="T4" fmla="*/ 0 w 16"/>
                    <a:gd name="T5" fmla="*/ 17 h 18"/>
                    <a:gd name="T6" fmla="*/ 0 w 16"/>
                    <a:gd name="T7" fmla="*/ 18 h 18"/>
                    <a:gd name="T8" fmla="*/ 3 w 16"/>
                    <a:gd name="T9" fmla="*/ 18 h 18"/>
                    <a:gd name="T10" fmla="*/ 3 w 16"/>
                    <a:gd name="T11" fmla="*/ 17 h 18"/>
                    <a:gd name="T12" fmla="*/ 2 w 16"/>
                    <a:gd name="T13" fmla="*/ 16 h 18"/>
                    <a:gd name="T14" fmla="*/ 14 w 16"/>
                    <a:gd name="T15" fmla="*/ 0 h 18"/>
                    <a:gd name="T16" fmla="*/ 13 w 16"/>
                    <a:gd name="T17" fmla="*/ 0 h 18"/>
                    <a:gd name="T18" fmla="*/ 13 w 16"/>
                    <a:gd name="T19" fmla="*/ 1 h 18"/>
                    <a:gd name="T20" fmla="*/ 13 w 16"/>
                    <a:gd name="T21" fmla="*/ 3 h 18"/>
                    <a:gd name="T22" fmla="*/ 14 w 16"/>
                    <a:gd name="T23" fmla="*/ 3 h 18"/>
                    <a:gd name="T24" fmla="*/ 15 w 16"/>
                    <a:gd name="T25" fmla="*/ 2 h 18"/>
                    <a:gd name="T26" fmla="*/ 16 w 16"/>
                    <a:gd name="T27" fmla="*/ 2 h 18"/>
                    <a:gd name="T28" fmla="*/ 15 w 16"/>
                    <a:gd name="T29" fmla="*/ 0 h 18"/>
                    <a:gd name="T30" fmla="*/ 14 w 16"/>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18">
                      <a:moveTo>
                        <a:pt x="2" y="16"/>
                      </a:moveTo>
                      <a:cubicBezTo>
                        <a:pt x="1" y="16"/>
                        <a:pt x="1" y="17"/>
                        <a:pt x="1" y="17"/>
                      </a:cubicBezTo>
                      <a:cubicBezTo>
                        <a:pt x="0" y="17"/>
                        <a:pt x="0" y="17"/>
                        <a:pt x="0" y="17"/>
                      </a:cubicBezTo>
                      <a:cubicBezTo>
                        <a:pt x="0" y="18"/>
                        <a:pt x="0" y="18"/>
                        <a:pt x="0" y="18"/>
                      </a:cubicBezTo>
                      <a:cubicBezTo>
                        <a:pt x="3" y="18"/>
                        <a:pt x="3" y="18"/>
                        <a:pt x="3" y="18"/>
                      </a:cubicBezTo>
                      <a:cubicBezTo>
                        <a:pt x="3" y="18"/>
                        <a:pt x="3" y="17"/>
                        <a:pt x="3" y="17"/>
                      </a:cubicBezTo>
                      <a:cubicBezTo>
                        <a:pt x="3" y="17"/>
                        <a:pt x="2" y="16"/>
                        <a:pt x="2" y="16"/>
                      </a:cubicBezTo>
                      <a:moveTo>
                        <a:pt x="14" y="0"/>
                      </a:moveTo>
                      <a:cubicBezTo>
                        <a:pt x="14" y="0"/>
                        <a:pt x="13" y="0"/>
                        <a:pt x="13" y="0"/>
                      </a:cubicBezTo>
                      <a:cubicBezTo>
                        <a:pt x="13" y="1"/>
                        <a:pt x="13" y="1"/>
                        <a:pt x="13" y="1"/>
                      </a:cubicBezTo>
                      <a:cubicBezTo>
                        <a:pt x="12" y="2"/>
                        <a:pt x="13" y="2"/>
                        <a:pt x="13" y="3"/>
                      </a:cubicBezTo>
                      <a:cubicBezTo>
                        <a:pt x="14" y="3"/>
                        <a:pt x="14" y="3"/>
                        <a:pt x="14" y="3"/>
                      </a:cubicBezTo>
                      <a:cubicBezTo>
                        <a:pt x="14" y="3"/>
                        <a:pt x="15" y="3"/>
                        <a:pt x="15" y="2"/>
                      </a:cubicBezTo>
                      <a:cubicBezTo>
                        <a:pt x="16" y="2"/>
                        <a:pt x="16" y="2"/>
                        <a:pt x="16" y="2"/>
                      </a:cubicBezTo>
                      <a:cubicBezTo>
                        <a:pt x="16" y="1"/>
                        <a:pt x="16" y="0"/>
                        <a:pt x="15" y="0"/>
                      </a:cubicBezTo>
                      <a:cubicBezTo>
                        <a:pt x="15" y="0"/>
                        <a:pt x="15" y="0"/>
                        <a:pt x="14" y="0"/>
                      </a:cubicBezTo>
                    </a:path>
                  </a:pathLst>
                </a:custGeom>
                <a:solidFill>
                  <a:srgbClr val="9B8D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48" name="Rectangle 188"/>
                <p:cNvSpPr>
                  <a:spLocks noChangeArrowheads="1"/>
                </p:cNvSpPr>
                <p:nvPr/>
              </p:nvSpPr>
              <p:spPr bwMode="auto">
                <a:xfrm>
                  <a:off x="7597344" y="3668703"/>
                  <a:ext cx="787386" cy="408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49" name="Freeform 189"/>
                <p:cNvSpPr>
                  <a:spLocks/>
                </p:cNvSpPr>
                <p:nvPr/>
              </p:nvSpPr>
              <p:spPr bwMode="auto">
                <a:xfrm>
                  <a:off x="7610949" y="3468032"/>
                  <a:ext cx="299309" cy="204073"/>
                </a:xfrm>
                <a:custGeom>
                  <a:avLst/>
                  <a:gdLst>
                    <a:gd name="T0" fmla="*/ 3 w 88"/>
                    <a:gd name="T1" fmla="*/ 60 h 60"/>
                    <a:gd name="T2" fmla="*/ 0 w 88"/>
                    <a:gd name="T3" fmla="*/ 59 h 60"/>
                    <a:gd name="T4" fmla="*/ 15 w 88"/>
                    <a:gd name="T5" fmla="*/ 30 h 60"/>
                    <a:gd name="T6" fmla="*/ 88 w 88"/>
                    <a:gd name="T7" fmla="*/ 0 h 60"/>
                    <a:gd name="T8" fmla="*/ 88 w 88"/>
                    <a:gd name="T9" fmla="*/ 3 h 60"/>
                    <a:gd name="T10" fmla="*/ 17 w 88"/>
                    <a:gd name="T11" fmla="*/ 31 h 60"/>
                    <a:gd name="T12" fmla="*/ 3 w 88"/>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88" h="60">
                      <a:moveTo>
                        <a:pt x="3" y="60"/>
                      </a:moveTo>
                      <a:cubicBezTo>
                        <a:pt x="0" y="59"/>
                        <a:pt x="0" y="59"/>
                        <a:pt x="0" y="59"/>
                      </a:cubicBezTo>
                      <a:cubicBezTo>
                        <a:pt x="0" y="59"/>
                        <a:pt x="3" y="44"/>
                        <a:pt x="15" y="30"/>
                      </a:cubicBezTo>
                      <a:cubicBezTo>
                        <a:pt x="26" y="16"/>
                        <a:pt x="48" y="0"/>
                        <a:pt x="88" y="0"/>
                      </a:cubicBezTo>
                      <a:cubicBezTo>
                        <a:pt x="88" y="3"/>
                        <a:pt x="88" y="3"/>
                        <a:pt x="88" y="3"/>
                      </a:cubicBezTo>
                      <a:cubicBezTo>
                        <a:pt x="49" y="3"/>
                        <a:pt x="28" y="18"/>
                        <a:pt x="17" y="31"/>
                      </a:cubicBezTo>
                      <a:cubicBezTo>
                        <a:pt x="5" y="45"/>
                        <a:pt x="3" y="60"/>
                        <a:pt x="3" y="6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50" name="Rectangle 190"/>
                <p:cNvSpPr>
                  <a:spLocks noChangeArrowheads="1"/>
                </p:cNvSpPr>
                <p:nvPr/>
              </p:nvSpPr>
              <p:spPr bwMode="auto">
                <a:xfrm>
                  <a:off x="7906857" y="3461229"/>
                  <a:ext cx="64623" cy="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51" name="Freeform 191"/>
                <p:cNvSpPr>
                  <a:spLocks noEditPoints="1"/>
                </p:cNvSpPr>
                <p:nvPr/>
              </p:nvSpPr>
              <p:spPr bwMode="auto">
                <a:xfrm>
                  <a:off x="7903455" y="3454427"/>
                  <a:ext cx="71426" cy="34012"/>
                </a:xfrm>
                <a:custGeom>
                  <a:avLst/>
                  <a:gdLst>
                    <a:gd name="T0" fmla="*/ 42 w 42"/>
                    <a:gd name="T1" fmla="*/ 20 h 20"/>
                    <a:gd name="T2" fmla="*/ 0 w 42"/>
                    <a:gd name="T3" fmla="*/ 20 h 20"/>
                    <a:gd name="T4" fmla="*/ 0 w 42"/>
                    <a:gd name="T5" fmla="*/ 0 h 20"/>
                    <a:gd name="T6" fmla="*/ 42 w 42"/>
                    <a:gd name="T7" fmla="*/ 0 h 20"/>
                    <a:gd name="T8" fmla="*/ 42 w 42"/>
                    <a:gd name="T9" fmla="*/ 20 h 20"/>
                    <a:gd name="T10" fmla="*/ 6 w 42"/>
                    <a:gd name="T11" fmla="*/ 14 h 20"/>
                    <a:gd name="T12" fmla="*/ 36 w 42"/>
                    <a:gd name="T13" fmla="*/ 14 h 20"/>
                    <a:gd name="T14" fmla="*/ 36 w 42"/>
                    <a:gd name="T15" fmla="*/ 6 h 20"/>
                    <a:gd name="T16" fmla="*/ 6 w 42"/>
                    <a:gd name="T17" fmla="*/ 6 h 20"/>
                    <a:gd name="T18" fmla="*/ 6 w 42"/>
                    <a:gd name="T19"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20">
                      <a:moveTo>
                        <a:pt x="42" y="20"/>
                      </a:moveTo>
                      <a:lnTo>
                        <a:pt x="0" y="20"/>
                      </a:lnTo>
                      <a:lnTo>
                        <a:pt x="0" y="0"/>
                      </a:lnTo>
                      <a:lnTo>
                        <a:pt x="42" y="0"/>
                      </a:lnTo>
                      <a:lnTo>
                        <a:pt x="42" y="20"/>
                      </a:lnTo>
                      <a:close/>
                      <a:moveTo>
                        <a:pt x="6" y="14"/>
                      </a:moveTo>
                      <a:lnTo>
                        <a:pt x="36" y="14"/>
                      </a:lnTo>
                      <a:lnTo>
                        <a:pt x="36" y="6"/>
                      </a:lnTo>
                      <a:lnTo>
                        <a:pt x="6" y="6"/>
                      </a:lnTo>
                      <a:lnTo>
                        <a:pt x="6"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52" name="Freeform 192"/>
                <p:cNvSpPr>
                  <a:spLocks/>
                </p:cNvSpPr>
                <p:nvPr/>
              </p:nvSpPr>
              <p:spPr bwMode="auto">
                <a:xfrm>
                  <a:off x="8071817" y="3468032"/>
                  <a:ext cx="299309" cy="204073"/>
                </a:xfrm>
                <a:custGeom>
                  <a:avLst/>
                  <a:gdLst>
                    <a:gd name="T0" fmla="*/ 85 w 88"/>
                    <a:gd name="T1" fmla="*/ 60 h 60"/>
                    <a:gd name="T2" fmla="*/ 71 w 88"/>
                    <a:gd name="T3" fmla="*/ 31 h 60"/>
                    <a:gd name="T4" fmla="*/ 0 w 88"/>
                    <a:gd name="T5" fmla="*/ 3 h 60"/>
                    <a:gd name="T6" fmla="*/ 0 w 88"/>
                    <a:gd name="T7" fmla="*/ 0 h 60"/>
                    <a:gd name="T8" fmla="*/ 73 w 88"/>
                    <a:gd name="T9" fmla="*/ 30 h 60"/>
                    <a:gd name="T10" fmla="*/ 88 w 88"/>
                    <a:gd name="T11" fmla="*/ 59 h 60"/>
                    <a:gd name="T12" fmla="*/ 85 w 88"/>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88" h="60">
                      <a:moveTo>
                        <a:pt x="85" y="60"/>
                      </a:moveTo>
                      <a:cubicBezTo>
                        <a:pt x="85" y="60"/>
                        <a:pt x="83" y="45"/>
                        <a:pt x="71" y="31"/>
                      </a:cubicBezTo>
                      <a:cubicBezTo>
                        <a:pt x="60" y="18"/>
                        <a:pt x="39" y="3"/>
                        <a:pt x="0" y="3"/>
                      </a:cubicBezTo>
                      <a:cubicBezTo>
                        <a:pt x="0" y="0"/>
                        <a:pt x="0" y="0"/>
                        <a:pt x="0" y="0"/>
                      </a:cubicBezTo>
                      <a:cubicBezTo>
                        <a:pt x="40" y="0"/>
                        <a:pt x="62" y="16"/>
                        <a:pt x="73" y="30"/>
                      </a:cubicBezTo>
                      <a:cubicBezTo>
                        <a:pt x="85" y="44"/>
                        <a:pt x="88" y="59"/>
                        <a:pt x="88" y="59"/>
                      </a:cubicBezTo>
                      <a:lnTo>
                        <a:pt x="85"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53" name="Rectangle 193"/>
                <p:cNvSpPr>
                  <a:spLocks noChangeArrowheads="1"/>
                </p:cNvSpPr>
                <p:nvPr/>
              </p:nvSpPr>
              <p:spPr bwMode="auto">
                <a:xfrm>
                  <a:off x="8008894" y="3461229"/>
                  <a:ext cx="66325" cy="238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54" name="Freeform 194"/>
                <p:cNvSpPr>
                  <a:spLocks noEditPoints="1"/>
                </p:cNvSpPr>
                <p:nvPr/>
              </p:nvSpPr>
              <p:spPr bwMode="auto">
                <a:xfrm>
                  <a:off x="8005492" y="3454427"/>
                  <a:ext cx="73127" cy="34012"/>
                </a:xfrm>
                <a:custGeom>
                  <a:avLst/>
                  <a:gdLst>
                    <a:gd name="T0" fmla="*/ 43 w 43"/>
                    <a:gd name="T1" fmla="*/ 20 h 20"/>
                    <a:gd name="T2" fmla="*/ 0 w 43"/>
                    <a:gd name="T3" fmla="*/ 20 h 20"/>
                    <a:gd name="T4" fmla="*/ 0 w 43"/>
                    <a:gd name="T5" fmla="*/ 0 h 20"/>
                    <a:gd name="T6" fmla="*/ 43 w 43"/>
                    <a:gd name="T7" fmla="*/ 0 h 20"/>
                    <a:gd name="T8" fmla="*/ 43 w 43"/>
                    <a:gd name="T9" fmla="*/ 20 h 20"/>
                    <a:gd name="T10" fmla="*/ 6 w 43"/>
                    <a:gd name="T11" fmla="*/ 14 h 20"/>
                    <a:gd name="T12" fmla="*/ 37 w 43"/>
                    <a:gd name="T13" fmla="*/ 14 h 20"/>
                    <a:gd name="T14" fmla="*/ 37 w 43"/>
                    <a:gd name="T15" fmla="*/ 6 h 20"/>
                    <a:gd name="T16" fmla="*/ 6 w 43"/>
                    <a:gd name="T17" fmla="*/ 6 h 20"/>
                    <a:gd name="T18" fmla="*/ 6 w 43"/>
                    <a:gd name="T19"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20">
                      <a:moveTo>
                        <a:pt x="43" y="20"/>
                      </a:moveTo>
                      <a:lnTo>
                        <a:pt x="0" y="20"/>
                      </a:lnTo>
                      <a:lnTo>
                        <a:pt x="0" y="0"/>
                      </a:lnTo>
                      <a:lnTo>
                        <a:pt x="43" y="0"/>
                      </a:lnTo>
                      <a:lnTo>
                        <a:pt x="43" y="20"/>
                      </a:lnTo>
                      <a:close/>
                      <a:moveTo>
                        <a:pt x="6" y="14"/>
                      </a:moveTo>
                      <a:lnTo>
                        <a:pt x="37" y="14"/>
                      </a:lnTo>
                      <a:lnTo>
                        <a:pt x="37" y="6"/>
                      </a:lnTo>
                      <a:lnTo>
                        <a:pt x="6" y="6"/>
                      </a:lnTo>
                      <a:lnTo>
                        <a:pt x="6"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55" name="Freeform 195"/>
                <p:cNvSpPr>
                  <a:spLocks noEditPoints="1"/>
                </p:cNvSpPr>
                <p:nvPr/>
              </p:nvSpPr>
              <p:spPr bwMode="auto">
                <a:xfrm>
                  <a:off x="7610949" y="3689110"/>
                  <a:ext cx="98636" cy="102036"/>
                </a:xfrm>
                <a:custGeom>
                  <a:avLst/>
                  <a:gdLst>
                    <a:gd name="T0" fmla="*/ 58 w 58"/>
                    <a:gd name="T1" fmla="*/ 60 h 60"/>
                    <a:gd name="T2" fmla="*/ 0 w 58"/>
                    <a:gd name="T3" fmla="*/ 60 h 60"/>
                    <a:gd name="T4" fmla="*/ 0 w 58"/>
                    <a:gd name="T5" fmla="*/ 0 h 60"/>
                    <a:gd name="T6" fmla="*/ 58 w 58"/>
                    <a:gd name="T7" fmla="*/ 0 h 60"/>
                    <a:gd name="T8" fmla="*/ 58 w 58"/>
                    <a:gd name="T9" fmla="*/ 60 h 60"/>
                    <a:gd name="T10" fmla="*/ 6 w 58"/>
                    <a:gd name="T11" fmla="*/ 54 h 60"/>
                    <a:gd name="T12" fmla="*/ 54 w 58"/>
                    <a:gd name="T13" fmla="*/ 54 h 60"/>
                    <a:gd name="T14" fmla="*/ 54 w 58"/>
                    <a:gd name="T15" fmla="*/ 6 h 60"/>
                    <a:gd name="T16" fmla="*/ 6 w 58"/>
                    <a:gd name="T17" fmla="*/ 6 h 60"/>
                    <a:gd name="T18" fmla="*/ 6 w 58"/>
                    <a:gd name="T19" fmla="*/ 5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60">
                      <a:moveTo>
                        <a:pt x="58" y="60"/>
                      </a:moveTo>
                      <a:lnTo>
                        <a:pt x="0" y="60"/>
                      </a:lnTo>
                      <a:lnTo>
                        <a:pt x="0" y="0"/>
                      </a:lnTo>
                      <a:lnTo>
                        <a:pt x="58" y="0"/>
                      </a:lnTo>
                      <a:lnTo>
                        <a:pt x="58" y="60"/>
                      </a:lnTo>
                      <a:close/>
                      <a:moveTo>
                        <a:pt x="6" y="54"/>
                      </a:moveTo>
                      <a:lnTo>
                        <a:pt x="54" y="54"/>
                      </a:lnTo>
                      <a:lnTo>
                        <a:pt x="54" y="6"/>
                      </a:lnTo>
                      <a:lnTo>
                        <a:pt x="6" y="6"/>
                      </a:lnTo>
                      <a:lnTo>
                        <a:pt x="6"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56" name="Oval 196"/>
                <p:cNvSpPr>
                  <a:spLocks noChangeArrowheads="1"/>
                </p:cNvSpPr>
                <p:nvPr/>
              </p:nvSpPr>
              <p:spPr bwMode="auto">
                <a:xfrm>
                  <a:off x="7644962" y="3723123"/>
                  <a:ext cx="30611" cy="30611"/>
                </a:xfrm>
                <a:prstGeom prst="ellipse">
                  <a:avLst/>
                </a:prstGeom>
                <a:solidFill>
                  <a:srgbClr val="D50C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57" name="Rectangle 197"/>
                <p:cNvSpPr>
                  <a:spLocks noChangeArrowheads="1"/>
                </p:cNvSpPr>
                <p:nvPr/>
              </p:nvSpPr>
              <p:spPr bwMode="auto">
                <a:xfrm>
                  <a:off x="7706184" y="3692512"/>
                  <a:ext cx="125846" cy="918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58" name="Freeform 198"/>
                <p:cNvSpPr>
                  <a:spLocks noEditPoints="1"/>
                </p:cNvSpPr>
                <p:nvPr/>
              </p:nvSpPr>
              <p:spPr bwMode="auto">
                <a:xfrm>
                  <a:off x="7702783" y="3689110"/>
                  <a:ext cx="136049" cy="102036"/>
                </a:xfrm>
                <a:custGeom>
                  <a:avLst/>
                  <a:gdLst>
                    <a:gd name="T0" fmla="*/ 80 w 80"/>
                    <a:gd name="T1" fmla="*/ 60 h 60"/>
                    <a:gd name="T2" fmla="*/ 0 w 80"/>
                    <a:gd name="T3" fmla="*/ 60 h 60"/>
                    <a:gd name="T4" fmla="*/ 0 w 80"/>
                    <a:gd name="T5" fmla="*/ 0 h 60"/>
                    <a:gd name="T6" fmla="*/ 80 w 80"/>
                    <a:gd name="T7" fmla="*/ 0 h 60"/>
                    <a:gd name="T8" fmla="*/ 80 w 80"/>
                    <a:gd name="T9" fmla="*/ 60 h 60"/>
                    <a:gd name="T10" fmla="*/ 4 w 80"/>
                    <a:gd name="T11" fmla="*/ 54 h 60"/>
                    <a:gd name="T12" fmla="*/ 74 w 80"/>
                    <a:gd name="T13" fmla="*/ 54 h 60"/>
                    <a:gd name="T14" fmla="*/ 74 w 80"/>
                    <a:gd name="T15" fmla="*/ 6 h 60"/>
                    <a:gd name="T16" fmla="*/ 4 w 80"/>
                    <a:gd name="T17" fmla="*/ 6 h 60"/>
                    <a:gd name="T18" fmla="*/ 4 w 80"/>
                    <a:gd name="T19" fmla="*/ 5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60">
                      <a:moveTo>
                        <a:pt x="80" y="60"/>
                      </a:moveTo>
                      <a:lnTo>
                        <a:pt x="0" y="60"/>
                      </a:lnTo>
                      <a:lnTo>
                        <a:pt x="0" y="0"/>
                      </a:lnTo>
                      <a:lnTo>
                        <a:pt x="80" y="0"/>
                      </a:lnTo>
                      <a:lnTo>
                        <a:pt x="80" y="60"/>
                      </a:lnTo>
                      <a:close/>
                      <a:moveTo>
                        <a:pt x="4" y="54"/>
                      </a:moveTo>
                      <a:lnTo>
                        <a:pt x="74" y="54"/>
                      </a:lnTo>
                      <a:lnTo>
                        <a:pt x="74" y="6"/>
                      </a:lnTo>
                      <a:lnTo>
                        <a:pt x="4" y="6"/>
                      </a:lnTo>
                      <a:lnTo>
                        <a:pt x="4"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59" name="Freeform 199"/>
                <p:cNvSpPr>
                  <a:spLocks/>
                </p:cNvSpPr>
                <p:nvPr/>
              </p:nvSpPr>
              <p:spPr bwMode="auto">
                <a:xfrm>
                  <a:off x="7702783" y="3689110"/>
                  <a:ext cx="34012" cy="34012"/>
                </a:xfrm>
                <a:custGeom>
                  <a:avLst/>
                  <a:gdLst>
                    <a:gd name="T0" fmla="*/ 4 w 20"/>
                    <a:gd name="T1" fmla="*/ 20 h 20"/>
                    <a:gd name="T2" fmla="*/ 0 w 20"/>
                    <a:gd name="T3" fmla="*/ 16 h 20"/>
                    <a:gd name="T4" fmla="*/ 16 w 20"/>
                    <a:gd name="T5" fmla="*/ 0 h 20"/>
                    <a:gd name="T6" fmla="*/ 20 w 20"/>
                    <a:gd name="T7" fmla="*/ 4 h 20"/>
                    <a:gd name="T8" fmla="*/ 4 w 20"/>
                    <a:gd name="T9" fmla="*/ 20 h 20"/>
                  </a:gdLst>
                  <a:ahLst/>
                  <a:cxnLst>
                    <a:cxn ang="0">
                      <a:pos x="T0" y="T1"/>
                    </a:cxn>
                    <a:cxn ang="0">
                      <a:pos x="T2" y="T3"/>
                    </a:cxn>
                    <a:cxn ang="0">
                      <a:pos x="T4" y="T5"/>
                    </a:cxn>
                    <a:cxn ang="0">
                      <a:pos x="T6" y="T7"/>
                    </a:cxn>
                    <a:cxn ang="0">
                      <a:pos x="T8" y="T9"/>
                    </a:cxn>
                  </a:cxnLst>
                  <a:rect l="0" t="0" r="r" b="b"/>
                  <a:pathLst>
                    <a:path w="20" h="20">
                      <a:moveTo>
                        <a:pt x="4" y="20"/>
                      </a:moveTo>
                      <a:lnTo>
                        <a:pt x="0" y="16"/>
                      </a:lnTo>
                      <a:lnTo>
                        <a:pt x="16" y="0"/>
                      </a:lnTo>
                      <a:lnTo>
                        <a:pt x="20" y="4"/>
                      </a:lnTo>
                      <a:lnTo>
                        <a:pt x="4"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60" name="Freeform 200"/>
                <p:cNvSpPr>
                  <a:spLocks/>
                </p:cNvSpPr>
                <p:nvPr/>
              </p:nvSpPr>
              <p:spPr bwMode="auto">
                <a:xfrm>
                  <a:off x="7702783" y="3689110"/>
                  <a:ext cx="64623" cy="64623"/>
                </a:xfrm>
                <a:custGeom>
                  <a:avLst/>
                  <a:gdLst>
                    <a:gd name="T0" fmla="*/ 4 w 38"/>
                    <a:gd name="T1" fmla="*/ 38 h 38"/>
                    <a:gd name="T2" fmla="*/ 0 w 38"/>
                    <a:gd name="T3" fmla="*/ 34 h 38"/>
                    <a:gd name="T4" fmla="*/ 34 w 38"/>
                    <a:gd name="T5" fmla="*/ 0 h 38"/>
                    <a:gd name="T6" fmla="*/ 38 w 38"/>
                    <a:gd name="T7" fmla="*/ 4 h 38"/>
                    <a:gd name="T8" fmla="*/ 4 w 38"/>
                    <a:gd name="T9" fmla="*/ 38 h 38"/>
                  </a:gdLst>
                  <a:ahLst/>
                  <a:cxnLst>
                    <a:cxn ang="0">
                      <a:pos x="T0" y="T1"/>
                    </a:cxn>
                    <a:cxn ang="0">
                      <a:pos x="T2" y="T3"/>
                    </a:cxn>
                    <a:cxn ang="0">
                      <a:pos x="T4" y="T5"/>
                    </a:cxn>
                    <a:cxn ang="0">
                      <a:pos x="T6" y="T7"/>
                    </a:cxn>
                    <a:cxn ang="0">
                      <a:pos x="T8" y="T9"/>
                    </a:cxn>
                  </a:cxnLst>
                  <a:rect l="0" t="0" r="r" b="b"/>
                  <a:pathLst>
                    <a:path w="38" h="38">
                      <a:moveTo>
                        <a:pt x="4" y="38"/>
                      </a:moveTo>
                      <a:lnTo>
                        <a:pt x="0" y="34"/>
                      </a:lnTo>
                      <a:lnTo>
                        <a:pt x="34" y="0"/>
                      </a:lnTo>
                      <a:lnTo>
                        <a:pt x="38" y="4"/>
                      </a:lnTo>
                      <a:lnTo>
                        <a:pt x="4"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61" name="Freeform 201"/>
                <p:cNvSpPr>
                  <a:spLocks/>
                </p:cNvSpPr>
                <p:nvPr/>
              </p:nvSpPr>
              <p:spPr bwMode="auto">
                <a:xfrm>
                  <a:off x="7702783" y="3689110"/>
                  <a:ext cx="95235" cy="95234"/>
                </a:xfrm>
                <a:custGeom>
                  <a:avLst/>
                  <a:gdLst>
                    <a:gd name="T0" fmla="*/ 4 w 56"/>
                    <a:gd name="T1" fmla="*/ 56 h 56"/>
                    <a:gd name="T2" fmla="*/ 0 w 56"/>
                    <a:gd name="T3" fmla="*/ 52 h 56"/>
                    <a:gd name="T4" fmla="*/ 52 w 56"/>
                    <a:gd name="T5" fmla="*/ 0 h 56"/>
                    <a:gd name="T6" fmla="*/ 56 w 56"/>
                    <a:gd name="T7" fmla="*/ 4 h 56"/>
                    <a:gd name="T8" fmla="*/ 4 w 56"/>
                    <a:gd name="T9" fmla="*/ 56 h 56"/>
                  </a:gdLst>
                  <a:ahLst/>
                  <a:cxnLst>
                    <a:cxn ang="0">
                      <a:pos x="T0" y="T1"/>
                    </a:cxn>
                    <a:cxn ang="0">
                      <a:pos x="T2" y="T3"/>
                    </a:cxn>
                    <a:cxn ang="0">
                      <a:pos x="T4" y="T5"/>
                    </a:cxn>
                    <a:cxn ang="0">
                      <a:pos x="T6" y="T7"/>
                    </a:cxn>
                    <a:cxn ang="0">
                      <a:pos x="T8" y="T9"/>
                    </a:cxn>
                  </a:cxnLst>
                  <a:rect l="0" t="0" r="r" b="b"/>
                  <a:pathLst>
                    <a:path w="56" h="56">
                      <a:moveTo>
                        <a:pt x="4" y="56"/>
                      </a:moveTo>
                      <a:lnTo>
                        <a:pt x="0" y="52"/>
                      </a:lnTo>
                      <a:lnTo>
                        <a:pt x="52" y="0"/>
                      </a:lnTo>
                      <a:lnTo>
                        <a:pt x="56" y="4"/>
                      </a:lnTo>
                      <a:lnTo>
                        <a:pt x="4" y="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62" name="Freeform 202"/>
                <p:cNvSpPr>
                  <a:spLocks/>
                </p:cNvSpPr>
                <p:nvPr/>
              </p:nvSpPr>
              <p:spPr bwMode="auto">
                <a:xfrm>
                  <a:off x="7764005" y="3716320"/>
                  <a:ext cx="71426" cy="71425"/>
                </a:xfrm>
                <a:custGeom>
                  <a:avLst/>
                  <a:gdLst>
                    <a:gd name="T0" fmla="*/ 4 w 42"/>
                    <a:gd name="T1" fmla="*/ 42 h 42"/>
                    <a:gd name="T2" fmla="*/ 0 w 42"/>
                    <a:gd name="T3" fmla="*/ 38 h 42"/>
                    <a:gd name="T4" fmla="*/ 38 w 42"/>
                    <a:gd name="T5" fmla="*/ 0 h 42"/>
                    <a:gd name="T6" fmla="*/ 42 w 42"/>
                    <a:gd name="T7" fmla="*/ 4 h 42"/>
                    <a:gd name="T8" fmla="*/ 4 w 42"/>
                    <a:gd name="T9" fmla="*/ 42 h 42"/>
                  </a:gdLst>
                  <a:ahLst/>
                  <a:cxnLst>
                    <a:cxn ang="0">
                      <a:pos x="T0" y="T1"/>
                    </a:cxn>
                    <a:cxn ang="0">
                      <a:pos x="T2" y="T3"/>
                    </a:cxn>
                    <a:cxn ang="0">
                      <a:pos x="T4" y="T5"/>
                    </a:cxn>
                    <a:cxn ang="0">
                      <a:pos x="T6" y="T7"/>
                    </a:cxn>
                    <a:cxn ang="0">
                      <a:pos x="T8" y="T9"/>
                    </a:cxn>
                  </a:cxnLst>
                  <a:rect l="0" t="0" r="r" b="b"/>
                  <a:pathLst>
                    <a:path w="42" h="42">
                      <a:moveTo>
                        <a:pt x="4" y="42"/>
                      </a:moveTo>
                      <a:lnTo>
                        <a:pt x="0" y="38"/>
                      </a:lnTo>
                      <a:lnTo>
                        <a:pt x="38" y="0"/>
                      </a:lnTo>
                      <a:lnTo>
                        <a:pt x="42" y="4"/>
                      </a:lnTo>
                      <a:lnTo>
                        <a:pt x="4"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63" name="Freeform 203"/>
                <p:cNvSpPr>
                  <a:spLocks/>
                </p:cNvSpPr>
                <p:nvPr/>
              </p:nvSpPr>
              <p:spPr bwMode="auto">
                <a:xfrm>
                  <a:off x="7798017" y="3750332"/>
                  <a:ext cx="37414" cy="37413"/>
                </a:xfrm>
                <a:custGeom>
                  <a:avLst/>
                  <a:gdLst>
                    <a:gd name="T0" fmla="*/ 4 w 22"/>
                    <a:gd name="T1" fmla="*/ 22 h 22"/>
                    <a:gd name="T2" fmla="*/ 0 w 22"/>
                    <a:gd name="T3" fmla="*/ 18 h 22"/>
                    <a:gd name="T4" fmla="*/ 18 w 22"/>
                    <a:gd name="T5" fmla="*/ 0 h 22"/>
                    <a:gd name="T6" fmla="*/ 22 w 22"/>
                    <a:gd name="T7" fmla="*/ 4 h 22"/>
                    <a:gd name="T8" fmla="*/ 4 w 22"/>
                    <a:gd name="T9" fmla="*/ 22 h 22"/>
                  </a:gdLst>
                  <a:ahLst/>
                  <a:cxnLst>
                    <a:cxn ang="0">
                      <a:pos x="T0" y="T1"/>
                    </a:cxn>
                    <a:cxn ang="0">
                      <a:pos x="T2" y="T3"/>
                    </a:cxn>
                    <a:cxn ang="0">
                      <a:pos x="T4" y="T5"/>
                    </a:cxn>
                    <a:cxn ang="0">
                      <a:pos x="T6" y="T7"/>
                    </a:cxn>
                    <a:cxn ang="0">
                      <a:pos x="T8" y="T9"/>
                    </a:cxn>
                  </a:cxnLst>
                  <a:rect l="0" t="0" r="r" b="b"/>
                  <a:pathLst>
                    <a:path w="22" h="22">
                      <a:moveTo>
                        <a:pt x="4" y="22"/>
                      </a:moveTo>
                      <a:lnTo>
                        <a:pt x="0" y="18"/>
                      </a:lnTo>
                      <a:lnTo>
                        <a:pt x="18" y="0"/>
                      </a:lnTo>
                      <a:lnTo>
                        <a:pt x="22" y="4"/>
                      </a:lnTo>
                      <a:lnTo>
                        <a:pt x="4"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64" name="Freeform 204"/>
                <p:cNvSpPr>
                  <a:spLocks/>
                </p:cNvSpPr>
                <p:nvPr/>
              </p:nvSpPr>
              <p:spPr bwMode="auto">
                <a:xfrm>
                  <a:off x="7729992" y="3689110"/>
                  <a:ext cx="98636" cy="98635"/>
                </a:xfrm>
                <a:custGeom>
                  <a:avLst/>
                  <a:gdLst>
                    <a:gd name="T0" fmla="*/ 4 w 58"/>
                    <a:gd name="T1" fmla="*/ 58 h 58"/>
                    <a:gd name="T2" fmla="*/ 0 w 58"/>
                    <a:gd name="T3" fmla="*/ 54 h 58"/>
                    <a:gd name="T4" fmla="*/ 54 w 58"/>
                    <a:gd name="T5" fmla="*/ 0 h 58"/>
                    <a:gd name="T6" fmla="*/ 58 w 58"/>
                    <a:gd name="T7" fmla="*/ 4 h 58"/>
                    <a:gd name="T8" fmla="*/ 4 w 58"/>
                    <a:gd name="T9" fmla="*/ 58 h 58"/>
                  </a:gdLst>
                  <a:ahLst/>
                  <a:cxnLst>
                    <a:cxn ang="0">
                      <a:pos x="T0" y="T1"/>
                    </a:cxn>
                    <a:cxn ang="0">
                      <a:pos x="T2" y="T3"/>
                    </a:cxn>
                    <a:cxn ang="0">
                      <a:pos x="T4" y="T5"/>
                    </a:cxn>
                    <a:cxn ang="0">
                      <a:pos x="T6" y="T7"/>
                    </a:cxn>
                    <a:cxn ang="0">
                      <a:pos x="T8" y="T9"/>
                    </a:cxn>
                  </a:cxnLst>
                  <a:rect l="0" t="0" r="r" b="b"/>
                  <a:pathLst>
                    <a:path w="58" h="58">
                      <a:moveTo>
                        <a:pt x="4" y="58"/>
                      </a:moveTo>
                      <a:lnTo>
                        <a:pt x="0" y="54"/>
                      </a:lnTo>
                      <a:lnTo>
                        <a:pt x="54" y="0"/>
                      </a:lnTo>
                      <a:lnTo>
                        <a:pt x="58" y="4"/>
                      </a:lnTo>
                      <a:lnTo>
                        <a:pt x="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65" name="Freeform 205"/>
                <p:cNvSpPr>
                  <a:spLocks noEditPoints="1"/>
                </p:cNvSpPr>
                <p:nvPr/>
              </p:nvSpPr>
              <p:spPr bwMode="auto">
                <a:xfrm>
                  <a:off x="8071817" y="3743530"/>
                  <a:ext cx="319716" cy="159857"/>
                </a:xfrm>
                <a:custGeom>
                  <a:avLst/>
                  <a:gdLst>
                    <a:gd name="T0" fmla="*/ 188 w 188"/>
                    <a:gd name="T1" fmla="*/ 94 h 94"/>
                    <a:gd name="T2" fmla="*/ 0 w 188"/>
                    <a:gd name="T3" fmla="*/ 94 h 94"/>
                    <a:gd name="T4" fmla="*/ 0 w 188"/>
                    <a:gd name="T5" fmla="*/ 0 h 94"/>
                    <a:gd name="T6" fmla="*/ 188 w 188"/>
                    <a:gd name="T7" fmla="*/ 0 h 94"/>
                    <a:gd name="T8" fmla="*/ 188 w 188"/>
                    <a:gd name="T9" fmla="*/ 94 h 94"/>
                    <a:gd name="T10" fmla="*/ 6 w 188"/>
                    <a:gd name="T11" fmla="*/ 88 h 94"/>
                    <a:gd name="T12" fmla="*/ 182 w 188"/>
                    <a:gd name="T13" fmla="*/ 88 h 94"/>
                    <a:gd name="T14" fmla="*/ 182 w 188"/>
                    <a:gd name="T15" fmla="*/ 6 h 94"/>
                    <a:gd name="T16" fmla="*/ 6 w 188"/>
                    <a:gd name="T17" fmla="*/ 6 h 94"/>
                    <a:gd name="T18" fmla="*/ 6 w 188"/>
                    <a:gd name="T19" fmla="*/ 8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94">
                      <a:moveTo>
                        <a:pt x="188" y="94"/>
                      </a:moveTo>
                      <a:lnTo>
                        <a:pt x="0" y="94"/>
                      </a:lnTo>
                      <a:lnTo>
                        <a:pt x="0" y="0"/>
                      </a:lnTo>
                      <a:lnTo>
                        <a:pt x="188" y="0"/>
                      </a:lnTo>
                      <a:lnTo>
                        <a:pt x="188" y="94"/>
                      </a:lnTo>
                      <a:close/>
                      <a:moveTo>
                        <a:pt x="6" y="88"/>
                      </a:moveTo>
                      <a:lnTo>
                        <a:pt x="182" y="88"/>
                      </a:lnTo>
                      <a:lnTo>
                        <a:pt x="182" y="6"/>
                      </a:lnTo>
                      <a:lnTo>
                        <a:pt x="6" y="6"/>
                      </a:lnTo>
                      <a:lnTo>
                        <a:pt x="6"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66" name="Freeform 207"/>
                <p:cNvSpPr>
                  <a:spLocks noEditPoints="1"/>
                </p:cNvSpPr>
                <p:nvPr/>
              </p:nvSpPr>
              <p:spPr bwMode="auto">
                <a:xfrm>
                  <a:off x="8068416" y="3933997"/>
                  <a:ext cx="176864" cy="105437"/>
                </a:xfrm>
                <a:custGeom>
                  <a:avLst/>
                  <a:gdLst>
                    <a:gd name="T0" fmla="*/ 104 w 104"/>
                    <a:gd name="T1" fmla="*/ 62 h 62"/>
                    <a:gd name="T2" fmla="*/ 0 w 104"/>
                    <a:gd name="T3" fmla="*/ 62 h 62"/>
                    <a:gd name="T4" fmla="*/ 0 w 104"/>
                    <a:gd name="T5" fmla="*/ 0 h 62"/>
                    <a:gd name="T6" fmla="*/ 104 w 104"/>
                    <a:gd name="T7" fmla="*/ 0 h 62"/>
                    <a:gd name="T8" fmla="*/ 104 w 104"/>
                    <a:gd name="T9" fmla="*/ 62 h 62"/>
                    <a:gd name="T10" fmla="*/ 6 w 104"/>
                    <a:gd name="T11" fmla="*/ 56 h 62"/>
                    <a:gd name="T12" fmla="*/ 100 w 104"/>
                    <a:gd name="T13" fmla="*/ 56 h 62"/>
                    <a:gd name="T14" fmla="*/ 100 w 104"/>
                    <a:gd name="T15" fmla="*/ 6 h 62"/>
                    <a:gd name="T16" fmla="*/ 6 w 104"/>
                    <a:gd name="T17" fmla="*/ 6 h 62"/>
                    <a:gd name="T18" fmla="*/ 6 w 104"/>
                    <a:gd name="T19"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62">
                      <a:moveTo>
                        <a:pt x="104" y="62"/>
                      </a:moveTo>
                      <a:lnTo>
                        <a:pt x="0" y="62"/>
                      </a:lnTo>
                      <a:lnTo>
                        <a:pt x="0" y="0"/>
                      </a:lnTo>
                      <a:lnTo>
                        <a:pt x="104" y="0"/>
                      </a:lnTo>
                      <a:lnTo>
                        <a:pt x="104" y="62"/>
                      </a:lnTo>
                      <a:close/>
                      <a:moveTo>
                        <a:pt x="6" y="56"/>
                      </a:moveTo>
                      <a:lnTo>
                        <a:pt x="100" y="56"/>
                      </a:lnTo>
                      <a:lnTo>
                        <a:pt x="100" y="6"/>
                      </a:lnTo>
                      <a:lnTo>
                        <a:pt x="6" y="6"/>
                      </a:lnTo>
                      <a:lnTo>
                        <a:pt x="6" y="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67" name="Rectangle 208"/>
                <p:cNvSpPr>
                  <a:spLocks noChangeArrowheads="1"/>
                </p:cNvSpPr>
                <p:nvPr/>
              </p:nvSpPr>
              <p:spPr bwMode="auto">
                <a:xfrm>
                  <a:off x="7614350" y="3876177"/>
                  <a:ext cx="210877" cy="1020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68" name="Rectangle 209"/>
                <p:cNvSpPr>
                  <a:spLocks noChangeArrowheads="1"/>
                </p:cNvSpPr>
                <p:nvPr/>
              </p:nvSpPr>
              <p:spPr bwMode="auto">
                <a:xfrm>
                  <a:off x="7614350" y="3913590"/>
                  <a:ext cx="210877" cy="1020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69" name="Rectangle 210"/>
                <p:cNvSpPr>
                  <a:spLocks noChangeArrowheads="1"/>
                </p:cNvSpPr>
                <p:nvPr/>
              </p:nvSpPr>
              <p:spPr bwMode="auto">
                <a:xfrm>
                  <a:off x="7614350" y="3957806"/>
                  <a:ext cx="210877" cy="680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70" name="Rectangle 211"/>
                <p:cNvSpPr>
                  <a:spLocks noChangeArrowheads="1"/>
                </p:cNvSpPr>
                <p:nvPr/>
              </p:nvSpPr>
              <p:spPr bwMode="auto">
                <a:xfrm>
                  <a:off x="7614350" y="3995219"/>
                  <a:ext cx="61222" cy="1020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grpSp>
          <p:grpSp>
            <p:nvGrpSpPr>
              <p:cNvPr id="577" name="Group 576"/>
              <p:cNvGrpSpPr/>
              <p:nvPr/>
            </p:nvGrpSpPr>
            <p:grpSpPr>
              <a:xfrm>
                <a:off x="3515613" y="3554396"/>
                <a:ext cx="751133" cy="751133"/>
                <a:chOff x="3568936" y="3344020"/>
                <a:chExt cx="751133" cy="751133"/>
              </a:xfrm>
            </p:grpSpPr>
            <p:sp>
              <p:nvSpPr>
                <p:cNvPr id="617" name="Rounded Rectangle 616"/>
                <p:cNvSpPr/>
                <p:nvPr/>
              </p:nvSpPr>
              <p:spPr bwMode="auto">
                <a:xfrm>
                  <a:off x="3568936" y="3344020"/>
                  <a:ext cx="751133" cy="751133"/>
                </a:xfrm>
                <a:prstGeom prst="roundRect">
                  <a:avLst>
                    <a:gd name="adj" fmla="val 10644"/>
                  </a:avLst>
                </a:prstGeom>
                <a:solidFill>
                  <a:srgbClr val="666666"/>
                </a:solidFill>
                <a:ln w="12700" cap="flat" cmpd="sng" algn="ctr">
                  <a:noFill/>
                  <a:prstDash val="solid"/>
                  <a:round/>
                  <a:headEnd type="none" w="med" len="med"/>
                  <a:tailEnd type="none" w="med" len="med"/>
                </a:ln>
                <a:effectLst/>
              </p:spPr>
              <p:txBody>
                <a:bodyPr vert="horz" wrap="square" lIns="18288" tIns="18288" rIns="18288" bIns="18288" numCol="1" rtlCol="0" anchor="b" anchorCtr="0" compatLnSpc="1">
                  <a:prstTxWarp prst="textNoShape">
                    <a:avLst/>
                  </a:prstTxWarp>
                  <a:noAutofit/>
                </a:bodyPr>
                <a:lstStyle/>
                <a:p>
                  <a:pPr algn="ctr">
                    <a:defRPr/>
                  </a:pPr>
                  <a:r>
                    <a:rPr lang="en-US" sz="700" kern="0" dirty="0">
                      <a:solidFill>
                        <a:srgbClr val="FFFFFF"/>
                      </a:solidFill>
                      <a:latin typeface="Calibri"/>
                    </a:rPr>
                    <a:t>MA</a:t>
                  </a:r>
                  <a:r>
                    <a:rPr lang="tr-TR" sz="700" kern="0" dirty="0">
                      <a:solidFill>
                        <a:srgbClr val="FFFFFF"/>
                      </a:solidFill>
                      <a:latin typeface="Calibri"/>
                    </a:rPr>
                    <a:t>KİNE</a:t>
                  </a:r>
                  <a:r>
                    <a:rPr lang="en-US" sz="700" kern="0" dirty="0">
                      <a:solidFill>
                        <a:srgbClr val="FFFFFF"/>
                      </a:solidFill>
                      <a:latin typeface="Calibri"/>
                    </a:rPr>
                    <a:t> </a:t>
                  </a:r>
                  <a:r>
                    <a:rPr lang="tr-TR" sz="700" kern="0" dirty="0">
                      <a:solidFill>
                        <a:srgbClr val="FFFFFF"/>
                      </a:solidFill>
                      <a:latin typeface="Calibri"/>
                    </a:rPr>
                    <a:t>ÖĞRENMESİ</a:t>
                  </a:r>
                  <a:endParaRPr lang="en-US" sz="700" kern="0" dirty="0">
                    <a:solidFill>
                      <a:srgbClr val="FFFFFF"/>
                    </a:solidFill>
                    <a:latin typeface="Calibri"/>
                  </a:endParaRPr>
                </a:p>
              </p:txBody>
            </p:sp>
            <p:grpSp>
              <p:nvGrpSpPr>
                <p:cNvPr id="618" name="Group 617"/>
                <p:cNvGrpSpPr/>
                <p:nvPr/>
              </p:nvGrpSpPr>
              <p:grpSpPr>
                <a:xfrm>
                  <a:off x="3807215" y="3453235"/>
                  <a:ext cx="274575" cy="286399"/>
                  <a:chOff x="5226050" y="3916363"/>
                  <a:chExt cx="1012825" cy="1056439"/>
                </a:xfrm>
              </p:grpSpPr>
              <p:sp>
                <p:nvSpPr>
                  <p:cNvPr id="619" name="Rectangle 212"/>
                  <p:cNvSpPr>
                    <a:spLocks noChangeArrowheads="1"/>
                  </p:cNvSpPr>
                  <p:nvPr/>
                </p:nvSpPr>
                <p:spPr bwMode="auto">
                  <a:xfrm>
                    <a:off x="5715000" y="3916363"/>
                    <a:ext cx="38100" cy="73025"/>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20" name="Freeform 213"/>
                  <p:cNvSpPr>
                    <a:spLocks/>
                  </p:cNvSpPr>
                  <p:nvPr/>
                </p:nvSpPr>
                <p:spPr bwMode="auto">
                  <a:xfrm>
                    <a:off x="5556250" y="3948113"/>
                    <a:ext cx="69850" cy="85725"/>
                  </a:xfrm>
                  <a:custGeom>
                    <a:avLst/>
                    <a:gdLst>
                      <a:gd name="T0" fmla="*/ 0 w 44"/>
                      <a:gd name="T1" fmla="*/ 12 h 54"/>
                      <a:gd name="T2" fmla="*/ 20 w 44"/>
                      <a:gd name="T3" fmla="*/ 0 h 54"/>
                      <a:gd name="T4" fmla="*/ 44 w 44"/>
                      <a:gd name="T5" fmla="*/ 42 h 54"/>
                      <a:gd name="T6" fmla="*/ 24 w 44"/>
                      <a:gd name="T7" fmla="*/ 54 h 54"/>
                      <a:gd name="T8" fmla="*/ 0 w 44"/>
                      <a:gd name="T9" fmla="*/ 12 h 54"/>
                    </a:gdLst>
                    <a:ahLst/>
                    <a:cxnLst>
                      <a:cxn ang="0">
                        <a:pos x="T0" y="T1"/>
                      </a:cxn>
                      <a:cxn ang="0">
                        <a:pos x="T2" y="T3"/>
                      </a:cxn>
                      <a:cxn ang="0">
                        <a:pos x="T4" y="T5"/>
                      </a:cxn>
                      <a:cxn ang="0">
                        <a:pos x="T6" y="T7"/>
                      </a:cxn>
                      <a:cxn ang="0">
                        <a:pos x="T8" y="T9"/>
                      </a:cxn>
                    </a:cxnLst>
                    <a:rect l="0" t="0" r="r" b="b"/>
                    <a:pathLst>
                      <a:path w="44" h="54">
                        <a:moveTo>
                          <a:pt x="0" y="12"/>
                        </a:moveTo>
                        <a:lnTo>
                          <a:pt x="20" y="0"/>
                        </a:lnTo>
                        <a:lnTo>
                          <a:pt x="44" y="42"/>
                        </a:lnTo>
                        <a:lnTo>
                          <a:pt x="24" y="54"/>
                        </a:lnTo>
                        <a:lnTo>
                          <a:pt x="0" y="12"/>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21" name="Freeform 214"/>
                  <p:cNvSpPr>
                    <a:spLocks/>
                  </p:cNvSpPr>
                  <p:nvPr/>
                </p:nvSpPr>
                <p:spPr bwMode="auto">
                  <a:xfrm>
                    <a:off x="5448300" y="4059238"/>
                    <a:ext cx="82550" cy="69850"/>
                  </a:xfrm>
                  <a:custGeom>
                    <a:avLst/>
                    <a:gdLst>
                      <a:gd name="T0" fmla="*/ 0 w 52"/>
                      <a:gd name="T1" fmla="*/ 20 h 44"/>
                      <a:gd name="T2" fmla="*/ 12 w 52"/>
                      <a:gd name="T3" fmla="*/ 0 h 44"/>
                      <a:gd name="T4" fmla="*/ 52 w 52"/>
                      <a:gd name="T5" fmla="*/ 24 h 44"/>
                      <a:gd name="T6" fmla="*/ 40 w 52"/>
                      <a:gd name="T7" fmla="*/ 44 h 44"/>
                      <a:gd name="T8" fmla="*/ 0 w 52"/>
                      <a:gd name="T9" fmla="*/ 20 h 44"/>
                    </a:gdLst>
                    <a:ahLst/>
                    <a:cxnLst>
                      <a:cxn ang="0">
                        <a:pos x="T0" y="T1"/>
                      </a:cxn>
                      <a:cxn ang="0">
                        <a:pos x="T2" y="T3"/>
                      </a:cxn>
                      <a:cxn ang="0">
                        <a:pos x="T4" y="T5"/>
                      </a:cxn>
                      <a:cxn ang="0">
                        <a:pos x="T6" y="T7"/>
                      </a:cxn>
                      <a:cxn ang="0">
                        <a:pos x="T8" y="T9"/>
                      </a:cxn>
                    </a:cxnLst>
                    <a:rect l="0" t="0" r="r" b="b"/>
                    <a:pathLst>
                      <a:path w="52" h="44">
                        <a:moveTo>
                          <a:pt x="0" y="20"/>
                        </a:moveTo>
                        <a:lnTo>
                          <a:pt x="12" y="0"/>
                        </a:lnTo>
                        <a:lnTo>
                          <a:pt x="52" y="24"/>
                        </a:lnTo>
                        <a:lnTo>
                          <a:pt x="40" y="44"/>
                        </a:lnTo>
                        <a:lnTo>
                          <a:pt x="0" y="20"/>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22" name="Rectangle 215"/>
                  <p:cNvSpPr>
                    <a:spLocks noChangeArrowheads="1"/>
                  </p:cNvSpPr>
                  <p:nvPr/>
                </p:nvSpPr>
                <p:spPr bwMode="auto">
                  <a:xfrm>
                    <a:off x="5413375" y="4214813"/>
                    <a:ext cx="76200" cy="38100"/>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23" name="Freeform 216"/>
                  <p:cNvSpPr>
                    <a:spLocks/>
                  </p:cNvSpPr>
                  <p:nvPr/>
                </p:nvSpPr>
                <p:spPr bwMode="auto">
                  <a:xfrm>
                    <a:off x="5448300" y="4341813"/>
                    <a:ext cx="82550" cy="69850"/>
                  </a:xfrm>
                  <a:custGeom>
                    <a:avLst/>
                    <a:gdLst>
                      <a:gd name="T0" fmla="*/ 0 w 52"/>
                      <a:gd name="T1" fmla="*/ 22 h 44"/>
                      <a:gd name="T2" fmla="*/ 40 w 52"/>
                      <a:gd name="T3" fmla="*/ 0 h 44"/>
                      <a:gd name="T4" fmla="*/ 52 w 52"/>
                      <a:gd name="T5" fmla="*/ 20 h 44"/>
                      <a:gd name="T6" fmla="*/ 12 w 52"/>
                      <a:gd name="T7" fmla="*/ 44 h 44"/>
                      <a:gd name="T8" fmla="*/ 0 w 52"/>
                      <a:gd name="T9" fmla="*/ 22 h 44"/>
                    </a:gdLst>
                    <a:ahLst/>
                    <a:cxnLst>
                      <a:cxn ang="0">
                        <a:pos x="T0" y="T1"/>
                      </a:cxn>
                      <a:cxn ang="0">
                        <a:pos x="T2" y="T3"/>
                      </a:cxn>
                      <a:cxn ang="0">
                        <a:pos x="T4" y="T5"/>
                      </a:cxn>
                      <a:cxn ang="0">
                        <a:pos x="T6" y="T7"/>
                      </a:cxn>
                      <a:cxn ang="0">
                        <a:pos x="T8" y="T9"/>
                      </a:cxn>
                    </a:cxnLst>
                    <a:rect l="0" t="0" r="r" b="b"/>
                    <a:pathLst>
                      <a:path w="52" h="44">
                        <a:moveTo>
                          <a:pt x="0" y="22"/>
                        </a:moveTo>
                        <a:lnTo>
                          <a:pt x="40" y="0"/>
                        </a:lnTo>
                        <a:lnTo>
                          <a:pt x="52" y="20"/>
                        </a:lnTo>
                        <a:lnTo>
                          <a:pt x="12" y="44"/>
                        </a:lnTo>
                        <a:lnTo>
                          <a:pt x="0" y="22"/>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24" name="Freeform 217"/>
                  <p:cNvSpPr>
                    <a:spLocks/>
                  </p:cNvSpPr>
                  <p:nvPr/>
                </p:nvSpPr>
                <p:spPr bwMode="auto">
                  <a:xfrm>
                    <a:off x="5934075" y="4341813"/>
                    <a:ext cx="85725" cy="69850"/>
                  </a:xfrm>
                  <a:custGeom>
                    <a:avLst/>
                    <a:gdLst>
                      <a:gd name="T0" fmla="*/ 0 w 54"/>
                      <a:gd name="T1" fmla="*/ 20 h 44"/>
                      <a:gd name="T2" fmla="*/ 12 w 54"/>
                      <a:gd name="T3" fmla="*/ 0 h 44"/>
                      <a:gd name="T4" fmla="*/ 54 w 54"/>
                      <a:gd name="T5" fmla="*/ 22 h 44"/>
                      <a:gd name="T6" fmla="*/ 42 w 54"/>
                      <a:gd name="T7" fmla="*/ 44 h 44"/>
                      <a:gd name="T8" fmla="*/ 0 w 54"/>
                      <a:gd name="T9" fmla="*/ 20 h 44"/>
                    </a:gdLst>
                    <a:ahLst/>
                    <a:cxnLst>
                      <a:cxn ang="0">
                        <a:pos x="T0" y="T1"/>
                      </a:cxn>
                      <a:cxn ang="0">
                        <a:pos x="T2" y="T3"/>
                      </a:cxn>
                      <a:cxn ang="0">
                        <a:pos x="T4" y="T5"/>
                      </a:cxn>
                      <a:cxn ang="0">
                        <a:pos x="T6" y="T7"/>
                      </a:cxn>
                      <a:cxn ang="0">
                        <a:pos x="T8" y="T9"/>
                      </a:cxn>
                    </a:cxnLst>
                    <a:rect l="0" t="0" r="r" b="b"/>
                    <a:pathLst>
                      <a:path w="54" h="44">
                        <a:moveTo>
                          <a:pt x="0" y="20"/>
                        </a:moveTo>
                        <a:lnTo>
                          <a:pt x="12" y="0"/>
                        </a:lnTo>
                        <a:lnTo>
                          <a:pt x="54" y="22"/>
                        </a:lnTo>
                        <a:lnTo>
                          <a:pt x="42" y="44"/>
                        </a:lnTo>
                        <a:lnTo>
                          <a:pt x="0" y="20"/>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25" name="Rectangle 218"/>
                  <p:cNvSpPr>
                    <a:spLocks noChangeArrowheads="1"/>
                  </p:cNvSpPr>
                  <p:nvPr/>
                </p:nvSpPr>
                <p:spPr bwMode="auto">
                  <a:xfrm>
                    <a:off x="5975350" y="4214813"/>
                    <a:ext cx="76200" cy="38100"/>
                  </a:xfrm>
                  <a:prstGeom prst="rect">
                    <a:avLst/>
                  </a:prstGeom>
                  <a:solidFill>
                    <a:srgbClr val="FFC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26" name="Freeform 219"/>
                  <p:cNvSpPr>
                    <a:spLocks/>
                  </p:cNvSpPr>
                  <p:nvPr/>
                </p:nvSpPr>
                <p:spPr bwMode="auto">
                  <a:xfrm>
                    <a:off x="5934075" y="4059238"/>
                    <a:ext cx="85725" cy="69850"/>
                  </a:xfrm>
                  <a:custGeom>
                    <a:avLst/>
                    <a:gdLst>
                      <a:gd name="T0" fmla="*/ 0 w 54"/>
                      <a:gd name="T1" fmla="*/ 24 h 44"/>
                      <a:gd name="T2" fmla="*/ 42 w 54"/>
                      <a:gd name="T3" fmla="*/ 0 h 44"/>
                      <a:gd name="T4" fmla="*/ 54 w 54"/>
                      <a:gd name="T5" fmla="*/ 20 h 44"/>
                      <a:gd name="T6" fmla="*/ 12 w 54"/>
                      <a:gd name="T7" fmla="*/ 44 h 44"/>
                      <a:gd name="T8" fmla="*/ 0 w 54"/>
                      <a:gd name="T9" fmla="*/ 24 h 44"/>
                    </a:gdLst>
                    <a:ahLst/>
                    <a:cxnLst>
                      <a:cxn ang="0">
                        <a:pos x="T0" y="T1"/>
                      </a:cxn>
                      <a:cxn ang="0">
                        <a:pos x="T2" y="T3"/>
                      </a:cxn>
                      <a:cxn ang="0">
                        <a:pos x="T4" y="T5"/>
                      </a:cxn>
                      <a:cxn ang="0">
                        <a:pos x="T6" y="T7"/>
                      </a:cxn>
                      <a:cxn ang="0">
                        <a:pos x="T8" y="T9"/>
                      </a:cxn>
                    </a:cxnLst>
                    <a:rect l="0" t="0" r="r" b="b"/>
                    <a:pathLst>
                      <a:path w="54" h="44">
                        <a:moveTo>
                          <a:pt x="0" y="24"/>
                        </a:moveTo>
                        <a:lnTo>
                          <a:pt x="42" y="0"/>
                        </a:lnTo>
                        <a:lnTo>
                          <a:pt x="54" y="20"/>
                        </a:lnTo>
                        <a:lnTo>
                          <a:pt x="12" y="44"/>
                        </a:lnTo>
                        <a:lnTo>
                          <a:pt x="0" y="24"/>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27" name="Freeform 220"/>
                  <p:cNvSpPr>
                    <a:spLocks/>
                  </p:cNvSpPr>
                  <p:nvPr/>
                </p:nvSpPr>
                <p:spPr bwMode="auto">
                  <a:xfrm>
                    <a:off x="5838825" y="3948113"/>
                    <a:ext cx="69850" cy="85725"/>
                  </a:xfrm>
                  <a:custGeom>
                    <a:avLst/>
                    <a:gdLst>
                      <a:gd name="T0" fmla="*/ 0 w 44"/>
                      <a:gd name="T1" fmla="*/ 42 h 54"/>
                      <a:gd name="T2" fmla="*/ 24 w 44"/>
                      <a:gd name="T3" fmla="*/ 0 h 54"/>
                      <a:gd name="T4" fmla="*/ 44 w 44"/>
                      <a:gd name="T5" fmla="*/ 12 h 54"/>
                      <a:gd name="T6" fmla="*/ 20 w 44"/>
                      <a:gd name="T7" fmla="*/ 54 h 54"/>
                      <a:gd name="T8" fmla="*/ 0 w 44"/>
                      <a:gd name="T9" fmla="*/ 42 h 54"/>
                    </a:gdLst>
                    <a:ahLst/>
                    <a:cxnLst>
                      <a:cxn ang="0">
                        <a:pos x="T0" y="T1"/>
                      </a:cxn>
                      <a:cxn ang="0">
                        <a:pos x="T2" y="T3"/>
                      </a:cxn>
                      <a:cxn ang="0">
                        <a:pos x="T4" y="T5"/>
                      </a:cxn>
                      <a:cxn ang="0">
                        <a:pos x="T6" y="T7"/>
                      </a:cxn>
                      <a:cxn ang="0">
                        <a:pos x="T8" y="T9"/>
                      </a:cxn>
                    </a:cxnLst>
                    <a:rect l="0" t="0" r="r" b="b"/>
                    <a:pathLst>
                      <a:path w="44" h="54">
                        <a:moveTo>
                          <a:pt x="0" y="42"/>
                        </a:moveTo>
                        <a:lnTo>
                          <a:pt x="24" y="0"/>
                        </a:lnTo>
                        <a:lnTo>
                          <a:pt x="44" y="12"/>
                        </a:lnTo>
                        <a:lnTo>
                          <a:pt x="20" y="54"/>
                        </a:lnTo>
                        <a:lnTo>
                          <a:pt x="0" y="42"/>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28" name="Freeform 221"/>
                  <p:cNvSpPr>
                    <a:spLocks noEditPoints="1"/>
                  </p:cNvSpPr>
                  <p:nvPr/>
                </p:nvSpPr>
                <p:spPr bwMode="auto">
                  <a:xfrm>
                    <a:off x="5527675" y="4027488"/>
                    <a:ext cx="412750" cy="546100"/>
                  </a:xfrm>
                  <a:custGeom>
                    <a:avLst/>
                    <a:gdLst>
                      <a:gd name="T0" fmla="*/ 130 w 130"/>
                      <a:gd name="T1" fmla="*/ 65 h 172"/>
                      <a:gd name="T2" fmla="*/ 65 w 130"/>
                      <a:gd name="T3" fmla="*/ 0 h 172"/>
                      <a:gd name="T4" fmla="*/ 0 w 130"/>
                      <a:gd name="T5" fmla="*/ 65 h 172"/>
                      <a:gd name="T6" fmla="*/ 17 w 130"/>
                      <a:gd name="T7" fmla="*/ 110 h 172"/>
                      <a:gd name="T8" fmla="*/ 17 w 130"/>
                      <a:gd name="T9" fmla="*/ 113 h 172"/>
                      <a:gd name="T10" fmla="*/ 5 w 130"/>
                      <a:gd name="T11" fmla="*/ 113 h 172"/>
                      <a:gd name="T12" fmla="*/ 5 w 130"/>
                      <a:gd name="T13" fmla="*/ 124 h 172"/>
                      <a:gd name="T14" fmla="*/ 17 w 130"/>
                      <a:gd name="T15" fmla="*/ 124 h 172"/>
                      <a:gd name="T16" fmla="*/ 17 w 130"/>
                      <a:gd name="T17" fmla="*/ 136 h 172"/>
                      <a:gd name="T18" fmla="*/ 5 w 130"/>
                      <a:gd name="T19" fmla="*/ 136 h 172"/>
                      <a:gd name="T20" fmla="*/ 5 w 130"/>
                      <a:gd name="T21" fmla="*/ 148 h 172"/>
                      <a:gd name="T22" fmla="*/ 17 w 130"/>
                      <a:gd name="T23" fmla="*/ 148 h 172"/>
                      <a:gd name="T24" fmla="*/ 17 w 130"/>
                      <a:gd name="T25" fmla="*/ 172 h 172"/>
                      <a:gd name="T26" fmla="*/ 112 w 130"/>
                      <a:gd name="T27" fmla="*/ 172 h 172"/>
                      <a:gd name="T28" fmla="*/ 112 w 130"/>
                      <a:gd name="T29" fmla="*/ 148 h 172"/>
                      <a:gd name="T30" fmla="*/ 124 w 130"/>
                      <a:gd name="T31" fmla="*/ 148 h 172"/>
                      <a:gd name="T32" fmla="*/ 124 w 130"/>
                      <a:gd name="T33" fmla="*/ 136 h 172"/>
                      <a:gd name="T34" fmla="*/ 112 w 130"/>
                      <a:gd name="T35" fmla="*/ 136 h 172"/>
                      <a:gd name="T36" fmla="*/ 112 w 130"/>
                      <a:gd name="T37" fmla="*/ 124 h 172"/>
                      <a:gd name="T38" fmla="*/ 124 w 130"/>
                      <a:gd name="T39" fmla="*/ 124 h 172"/>
                      <a:gd name="T40" fmla="*/ 124 w 130"/>
                      <a:gd name="T41" fmla="*/ 113 h 172"/>
                      <a:gd name="T42" fmla="*/ 112 w 130"/>
                      <a:gd name="T43" fmla="*/ 113 h 172"/>
                      <a:gd name="T44" fmla="*/ 112 w 130"/>
                      <a:gd name="T45" fmla="*/ 110 h 172"/>
                      <a:gd name="T46" fmla="*/ 130 w 130"/>
                      <a:gd name="T47" fmla="*/ 65 h 172"/>
                      <a:gd name="T48" fmla="*/ 100 w 130"/>
                      <a:gd name="T49" fmla="*/ 160 h 172"/>
                      <a:gd name="T50" fmla="*/ 29 w 130"/>
                      <a:gd name="T51" fmla="*/ 160 h 172"/>
                      <a:gd name="T52" fmla="*/ 29 w 130"/>
                      <a:gd name="T53" fmla="*/ 148 h 172"/>
                      <a:gd name="T54" fmla="*/ 100 w 130"/>
                      <a:gd name="T55" fmla="*/ 148 h 172"/>
                      <a:gd name="T56" fmla="*/ 100 w 130"/>
                      <a:gd name="T57" fmla="*/ 160 h 172"/>
                      <a:gd name="T58" fmla="*/ 100 w 130"/>
                      <a:gd name="T59" fmla="*/ 136 h 172"/>
                      <a:gd name="T60" fmla="*/ 29 w 130"/>
                      <a:gd name="T61" fmla="*/ 136 h 172"/>
                      <a:gd name="T62" fmla="*/ 29 w 130"/>
                      <a:gd name="T63" fmla="*/ 124 h 172"/>
                      <a:gd name="T64" fmla="*/ 100 w 130"/>
                      <a:gd name="T65" fmla="*/ 124 h 172"/>
                      <a:gd name="T66" fmla="*/ 100 w 130"/>
                      <a:gd name="T67" fmla="*/ 136 h 172"/>
                      <a:gd name="T68" fmla="*/ 65 w 130"/>
                      <a:gd name="T69" fmla="*/ 77 h 172"/>
                      <a:gd name="T70" fmla="*/ 53 w 130"/>
                      <a:gd name="T71" fmla="*/ 65 h 172"/>
                      <a:gd name="T72" fmla="*/ 65 w 130"/>
                      <a:gd name="T73" fmla="*/ 54 h 172"/>
                      <a:gd name="T74" fmla="*/ 76 w 130"/>
                      <a:gd name="T75" fmla="*/ 65 h 172"/>
                      <a:gd name="T76" fmla="*/ 65 w 130"/>
                      <a:gd name="T77" fmla="*/ 77 h 172"/>
                      <a:gd name="T78" fmla="*/ 71 w 130"/>
                      <a:gd name="T79" fmla="*/ 113 h 172"/>
                      <a:gd name="T80" fmla="*/ 71 w 130"/>
                      <a:gd name="T81" fmla="*/ 88 h 172"/>
                      <a:gd name="T82" fmla="*/ 88 w 130"/>
                      <a:gd name="T83" fmla="*/ 65 h 172"/>
                      <a:gd name="T84" fmla="*/ 65 w 130"/>
                      <a:gd name="T85" fmla="*/ 42 h 172"/>
                      <a:gd name="T86" fmla="*/ 41 w 130"/>
                      <a:gd name="T87" fmla="*/ 65 h 172"/>
                      <a:gd name="T88" fmla="*/ 59 w 130"/>
                      <a:gd name="T89" fmla="*/ 88 h 172"/>
                      <a:gd name="T90" fmla="*/ 59 w 130"/>
                      <a:gd name="T91" fmla="*/ 113 h 172"/>
                      <a:gd name="T92" fmla="*/ 29 w 130"/>
                      <a:gd name="T93" fmla="*/ 113 h 172"/>
                      <a:gd name="T94" fmla="*/ 29 w 130"/>
                      <a:gd name="T95" fmla="*/ 105 h 172"/>
                      <a:gd name="T96" fmla="*/ 27 w 130"/>
                      <a:gd name="T97" fmla="*/ 103 h 172"/>
                      <a:gd name="T98" fmla="*/ 11 w 130"/>
                      <a:gd name="T99" fmla="*/ 65 h 172"/>
                      <a:gd name="T100" fmla="*/ 65 w 130"/>
                      <a:gd name="T101" fmla="*/ 12 h 172"/>
                      <a:gd name="T102" fmla="*/ 118 w 130"/>
                      <a:gd name="T103" fmla="*/ 65 h 172"/>
                      <a:gd name="T104" fmla="*/ 102 w 130"/>
                      <a:gd name="T105" fmla="*/ 103 h 172"/>
                      <a:gd name="T106" fmla="*/ 100 w 130"/>
                      <a:gd name="T107" fmla="*/ 105 h 172"/>
                      <a:gd name="T108" fmla="*/ 100 w 130"/>
                      <a:gd name="T109" fmla="*/ 113 h 172"/>
                      <a:gd name="T110" fmla="*/ 71 w 130"/>
                      <a:gd name="T111" fmla="*/ 11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172">
                        <a:moveTo>
                          <a:pt x="130" y="65"/>
                        </a:moveTo>
                        <a:cubicBezTo>
                          <a:pt x="130" y="29"/>
                          <a:pt x="100" y="0"/>
                          <a:pt x="65" y="0"/>
                        </a:cubicBezTo>
                        <a:cubicBezTo>
                          <a:pt x="29" y="0"/>
                          <a:pt x="0" y="29"/>
                          <a:pt x="0" y="65"/>
                        </a:cubicBezTo>
                        <a:cubicBezTo>
                          <a:pt x="0" y="82"/>
                          <a:pt x="6" y="98"/>
                          <a:pt x="17" y="110"/>
                        </a:cubicBezTo>
                        <a:cubicBezTo>
                          <a:pt x="17" y="113"/>
                          <a:pt x="17" y="113"/>
                          <a:pt x="17" y="113"/>
                        </a:cubicBezTo>
                        <a:cubicBezTo>
                          <a:pt x="5" y="113"/>
                          <a:pt x="5" y="113"/>
                          <a:pt x="5" y="113"/>
                        </a:cubicBezTo>
                        <a:cubicBezTo>
                          <a:pt x="5" y="124"/>
                          <a:pt x="5" y="124"/>
                          <a:pt x="5" y="124"/>
                        </a:cubicBezTo>
                        <a:cubicBezTo>
                          <a:pt x="17" y="124"/>
                          <a:pt x="17" y="124"/>
                          <a:pt x="17" y="124"/>
                        </a:cubicBezTo>
                        <a:cubicBezTo>
                          <a:pt x="17" y="136"/>
                          <a:pt x="17" y="136"/>
                          <a:pt x="17" y="136"/>
                        </a:cubicBezTo>
                        <a:cubicBezTo>
                          <a:pt x="5" y="136"/>
                          <a:pt x="5" y="136"/>
                          <a:pt x="5" y="136"/>
                        </a:cubicBezTo>
                        <a:cubicBezTo>
                          <a:pt x="5" y="148"/>
                          <a:pt x="5" y="148"/>
                          <a:pt x="5" y="148"/>
                        </a:cubicBezTo>
                        <a:cubicBezTo>
                          <a:pt x="17" y="148"/>
                          <a:pt x="17" y="148"/>
                          <a:pt x="17" y="148"/>
                        </a:cubicBezTo>
                        <a:cubicBezTo>
                          <a:pt x="17" y="172"/>
                          <a:pt x="17" y="172"/>
                          <a:pt x="17" y="172"/>
                        </a:cubicBezTo>
                        <a:cubicBezTo>
                          <a:pt x="112" y="172"/>
                          <a:pt x="112" y="172"/>
                          <a:pt x="112" y="172"/>
                        </a:cubicBezTo>
                        <a:cubicBezTo>
                          <a:pt x="112" y="148"/>
                          <a:pt x="112" y="148"/>
                          <a:pt x="112" y="148"/>
                        </a:cubicBezTo>
                        <a:cubicBezTo>
                          <a:pt x="124" y="148"/>
                          <a:pt x="124" y="148"/>
                          <a:pt x="124" y="148"/>
                        </a:cubicBezTo>
                        <a:cubicBezTo>
                          <a:pt x="124" y="136"/>
                          <a:pt x="124" y="136"/>
                          <a:pt x="124" y="136"/>
                        </a:cubicBezTo>
                        <a:cubicBezTo>
                          <a:pt x="112" y="136"/>
                          <a:pt x="112" y="136"/>
                          <a:pt x="112" y="136"/>
                        </a:cubicBezTo>
                        <a:cubicBezTo>
                          <a:pt x="112" y="124"/>
                          <a:pt x="112" y="124"/>
                          <a:pt x="112" y="124"/>
                        </a:cubicBezTo>
                        <a:cubicBezTo>
                          <a:pt x="124" y="124"/>
                          <a:pt x="124" y="124"/>
                          <a:pt x="124" y="124"/>
                        </a:cubicBezTo>
                        <a:cubicBezTo>
                          <a:pt x="124" y="113"/>
                          <a:pt x="124" y="113"/>
                          <a:pt x="124" y="113"/>
                        </a:cubicBezTo>
                        <a:cubicBezTo>
                          <a:pt x="112" y="113"/>
                          <a:pt x="112" y="113"/>
                          <a:pt x="112" y="113"/>
                        </a:cubicBezTo>
                        <a:cubicBezTo>
                          <a:pt x="112" y="110"/>
                          <a:pt x="112" y="110"/>
                          <a:pt x="112" y="110"/>
                        </a:cubicBezTo>
                        <a:cubicBezTo>
                          <a:pt x="123" y="98"/>
                          <a:pt x="130" y="82"/>
                          <a:pt x="130" y="65"/>
                        </a:cubicBezTo>
                        <a:moveTo>
                          <a:pt x="100" y="160"/>
                        </a:moveTo>
                        <a:cubicBezTo>
                          <a:pt x="29" y="160"/>
                          <a:pt x="29" y="160"/>
                          <a:pt x="29" y="160"/>
                        </a:cubicBezTo>
                        <a:cubicBezTo>
                          <a:pt x="29" y="148"/>
                          <a:pt x="29" y="148"/>
                          <a:pt x="29" y="148"/>
                        </a:cubicBezTo>
                        <a:cubicBezTo>
                          <a:pt x="100" y="148"/>
                          <a:pt x="100" y="148"/>
                          <a:pt x="100" y="148"/>
                        </a:cubicBezTo>
                        <a:lnTo>
                          <a:pt x="100" y="160"/>
                        </a:lnTo>
                        <a:close/>
                        <a:moveTo>
                          <a:pt x="100" y="136"/>
                        </a:moveTo>
                        <a:cubicBezTo>
                          <a:pt x="29" y="136"/>
                          <a:pt x="29" y="136"/>
                          <a:pt x="29" y="136"/>
                        </a:cubicBezTo>
                        <a:cubicBezTo>
                          <a:pt x="29" y="124"/>
                          <a:pt x="29" y="124"/>
                          <a:pt x="29" y="124"/>
                        </a:cubicBezTo>
                        <a:cubicBezTo>
                          <a:pt x="100" y="124"/>
                          <a:pt x="100" y="124"/>
                          <a:pt x="100" y="124"/>
                        </a:cubicBezTo>
                        <a:lnTo>
                          <a:pt x="100" y="136"/>
                        </a:lnTo>
                        <a:close/>
                        <a:moveTo>
                          <a:pt x="65" y="77"/>
                        </a:moveTo>
                        <a:cubicBezTo>
                          <a:pt x="58" y="77"/>
                          <a:pt x="53" y="72"/>
                          <a:pt x="53" y="65"/>
                        </a:cubicBezTo>
                        <a:cubicBezTo>
                          <a:pt x="53" y="59"/>
                          <a:pt x="58" y="54"/>
                          <a:pt x="65" y="54"/>
                        </a:cubicBezTo>
                        <a:cubicBezTo>
                          <a:pt x="71" y="54"/>
                          <a:pt x="76" y="59"/>
                          <a:pt x="76" y="65"/>
                        </a:cubicBezTo>
                        <a:cubicBezTo>
                          <a:pt x="76" y="72"/>
                          <a:pt x="71" y="77"/>
                          <a:pt x="65" y="77"/>
                        </a:cubicBezTo>
                        <a:moveTo>
                          <a:pt x="71" y="113"/>
                        </a:moveTo>
                        <a:cubicBezTo>
                          <a:pt x="71" y="88"/>
                          <a:pt x="71" y="88"/>
                          <a:pt x="71" y="88"/>
                        </a:cubicBezTo>
                        <a:cubicBezTo>
                          <a:pt x="81" y="86"/>
                          <a:pt x="88" y="76"/>
                          <a:pt x="88" y="65"/>
                        </a:cubicBezTo>
                        <a:cubicBezTo>
                          <a:pt x="88" y="52"/>
                          <a:pt x="78" y="42"/>
                          <a:pt x="65" y="42"/>
                        </a:cubicBezTo>
                        <a:cubicBezTo>
                          <a:pt x="52" y="42"/>
                          <a:pt x="41" y="52"/>
                          <a:pt x="41" y="65"/>
                        </a:cubicBezTo>
                        <a:cubicBezTo>
                          <a:pt x="41" y="76"/>
                          <a:pt x="49" y="86"/>
                          <a:pt x="59" y="88"/>
                        </a:cubicBezTo>
                        <a:cubicBezTo>
                          <a:pt x="59" y="113"/>
                          <a:pt x="59" y="113"/>
                          <a:pt x="59" y="113"/>
                        </a:cubicBezTo>
                        <a:cubicBezTo>
                          <a:pt x="29" y="113"/>
                          <a:pt x="29" y="113"/>
                          <a:pt x="29" y="113"/>
                        </a:cubicBezTo>
                        <a:cubicBezTo>
                          <a:pt x="29" y="105"/>
                          <a:pt x="29" y="105"/>
                          <a:pt x="29" y="105"/>
                        </a:cubicBezTo>
                        <a:cubicBezTo>
                          <a:pt x="27" y="103"/>
                          <a:pt x="27" y="103"/>
                          <a:pt x="27" y="103"/>
                        </a:cubicBezTo>
                        <a:cubicBezTo>
                          <a:pt x="17" y="93"/>
                          <a:pt x="11" y="80"/>
                          <a:pt x="11" y="65"/>
                        </a:cubicBezTo>
                        <a:cubicBezTo>
                          <a:pt x="11" y="36"/>
                          <a:pt x="35" y="12"/>
                          <a:pt x="65" y="12"/>
                        </a:cubicBezTo>
                        <a:cubicBezTo>
                          <a:pt x="94" y="12"/>
                          <a:pt x="118" y="36"/>
                          <a:pt x="118" y="65"/>
                        </a:cubicBezTo>
                        <a:cubicBezTo>
                          <a:pt x="118" y="80"/>
                          <a:pt x="112" y="93"/>
                          <a:pt x="102" y="103"/>
                        </a:cubicBezTo>
                        <a:cubicBezTo>
                          <a:pt x="100" y="105"/>
                          <a:pt x="100" y="105"/>
                          <a:pt x="100" y="105"/>
                        </a:cubicBezTo>
                        <a:cubicBezTo>
                          <a:pt x="100" y="113"/>
                          <a:pt x="100" y="113"/>
                          <a:pt x="100" y="113"/>
                        </a:cubicBezTo>
                        <a:lnTo>
                          <a:pt x="71" y="113"/>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29" name="Freeform 222"/>
                  <p:cNvSpPr>
                    <a:spLocks noEditPoints="1"/>
                  </p:cNvSpPr>
                  <p:nvPr/>
                </p:nvSpPr>
                <p:spPr bwMode="auto">
                  <a:xfrm>
                    <a:off x="5226050" y="4261603"/>
                    <a:ext cx="1012825" cy="711199"/>
                  </a:xfrm>
                  <a:custGeom>
                    <a:avLst/>
                    <a:gdLst>
                      <a:gd name="T0" fmla="*/ 296 w 319"/>
                      <a:gd name="T1" fmla="*/ 0 h 224"/>
                      <a:gd name="T2" fmla="*/ 278 w 319"/>
                      <a:gd name="T3" fmla="*/ 39 h 224"/>
                      <a:gd name="T4" fmla="*/ 260 w 319"/>
                      <a:gd name="T5" fmla="*/ 89 h 224"/>
                      <a:gd name="T6" fmla="*/ 59 w 319"/>
                      <a:gd name="T7" fmla="*/ 77 h 224"/>
                      <a:gd name="T8" fmla="*/ 41 w 319"/>
                      <a:gd name="T9" fmla="*/ 93 h 224"/>
                      <a:gd name="T10" fmla="*/ 47 w 319"/>
                      <a:gd name="T11" fmla="*/ 23 h 224"/>
                      <a:gd name="T12" fmla="*/ 0 w 319"/>
                      <a:gd name="T13" fmla="*/ 23 h 224"/>
                      <a:gd name="T14" fmla="*/ 6 w 319"/>
                      <a:gd name="T15" fmla="*/ 148 h 224"/>
                      <a:gd name="T16" fmla="*/ 59 w 319"/>
                      <a:gd name="T17" fmla="*/ 224 h 224"/>
                      <a:gd name="T18" fmla="*/ 260 w 319"/>
                      <a:gd name="T19" fmla="*/ 206 h 224"/>
                      <a:gd name="T20" fmla="*/ 313 w 319"/>
                      <a:gd name="T21" fmla="*/ 39 h 224"/>
                      <a:gd name="T22" fmla="*/ 296 w 319"/>
                      <a:gd name="T23" fmla="*/ 12 h 224"/>
                      <a:gd name="T24" fmla="*/ 296 w 319"/>
                      <a:gd name="T25" fmla="*/ 35 h 224"/>
                      <a:gd name="T26" fmla="*/ 296 w 319"/>
                      <a:gd name="T27" fmla="*/ 12 h 224"/>
                      <a:gd name="T28" fmla="*/ 35 w 319"/>
                      <a:gd name="T29" fmla="*/ 23 h 224"/>
                      <a:gd name="T30" fmla="*/ 12 w 319"/>
                      <a:gd name="T31" fmla="*/ 23 h 224"/>
                      <a:gd name="T32" fmla="*/ 18 w 319"/>
                      <a:gd name="T33" fmla="*/ 46 h 224"/>
                      <a:gd name="T34" fmla="*/ 30 w 319"/>
                      <a:gd name="T35" fmla="*/ 46 h 224"/>
                      <a:gd name="T36" fmla="*/ 30 w 319"/>
                      <a:gd name="T37" fmla="*/ 100 h 224"/>
                      <a:gd name="T38" fmla="*/ 18 w 319"/>
                      <a:gd name="T39" fmla="*/ 46 h 224"/>
                      <a:gd name="T40" fmla="*/ 59 w 319"/>
                      <a:gd name="T41" fmla="*/ 101 h 224"/>
                      <a:gd name="T42" fmla="*/ 47 w 319"/>
                      <a:gd name="T43" fmla="*/ 118 h 224"/>
                      <a:gd name="T44" fmla="*/ 59 w 319"/>
                      <a:gd name="T45" fmla="*/ 130 h 224"/>
                      <a:gd name="T46" fmla="*/ 47 w 319"/>
                      <a:gd name="T47" fmla="*/ 142 h 224"/>
                      <a:gd name="T48" fmla="*/ 59 w 319"/>
                      <a:gd name="T49" fmla="*/ 153 h 224"/>
                      <a:gd name="T50" fmla="*/ 47 w 319"/>
                      <a:gd name="T51" fmla="*/ 165 h 224"/>
                      <a:gd name="T52" fmla="*/ 59 w 319"/>
                      <a:gd name="T53" fmla="*/ 177 h 224"/>
                      <a:gd name="T54" fmla="*/ 18 w 319"/>
                      <a:gd name="T55" fmla="*/ 148 h 224"/>
                      <a:gd name="T56" fmla="*/ 130 w 319"/>
                      <a:gd name="T57" fmla="*/ 213 h 224"/>
                      <a:gd name="T58" fmla="*/ 189 w 319"/>
                      <a:gd name="T59" fmla="*/ 189 h 224"/>
                      <a:gd name="T60" fmla="*/ 248 w 319"/>
                      <a:gd name="T61" fmla="*/ 213 h 224"/>
                      <a:gd name="T62" fmla="*/ 201 w 319"/>
                      <a:gd name="T63" fmla="*/ 177 h 224"/>
                      <a:gd name="T64" fmla="*/ 118 w 319"/>
                      <a:gd name="T65" fmla="*/ 213 h 224"/>
                      <a:gd name="T66" fmla="*/ 71 w 319"/>
                      <a:gd name="T67" fmla="*/ 88 h 224"/>
                      <a:gd name="T68" fmla="*/ 248 w 319"/>
                      <a:gd name="T69" fmla="*/ 213 h 224"/>
                      <a:gd name="T70" fmla="*/ 260 w 319"/>
                      <a:gd name="T71" fmla="*/ 177 h 224"/>
                      <a:gd name="T72" fmla="*/ 272 w 319"/>
                      <a:gd name="T73" fmla="*/ 165 h 224"/>
                      <a:gd name="T74" fmla="*/ 260 w 319"/>
                      <a:gd name="T75" fmla="*/ 153 h 224"/>
                      <a:gd name="T76" fmla="*/ 272 w 319"/>
                      <a:gd name="T77" fmla="*/ 142 h 224"/>
                      <a:gd name="T78" fmla="*/ 260 w 319"/>
                      <a:gd name="T79" fmla="*/ 130 h 224"/>
                      <a:gd name="T80" fmla="*/ 272 w 319"/>
                      <a:gd name="T81" fmla="*/ 118 h 224"/>
                      <a:gd name="T82" fmla="*/ 260 w 319"/>
                      <a:gd name="T83" fmla="*/ 101 h 224"/>
                      <a:gd name="T84" fmla="*/ 260 w 319"/>
                      <a:gd name="T85" fmla="*/ 194 h 224"/>
                      <a:gd name="T86" fmla="*/ 290 w 319"/>
                      <a:gd name="T87" fmla="*/ 100 h 224"/>
                      <a:gd name="T88" fmla="*/ 296 w 319"/>
                      <a:gd name="T89" fmla="*/ 47 h 224"/>
                      <a:gd name="T90" fmla="*/ 302 w 319"/>
                      <a:gd name="T91" fmla="*/ 11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9" h="224">
                        <a:moveTo>
                          <a:pt x="319" y="23"/>
                        </a:moveTo>
                        <a:cubicBezTo>
                          <a:pt x="319" y="10"/>
                          <a:pt x="309" y="0"/>
                          <a:pt x="296" y="0"/>
                        </a:cubicBezTo>
                        <a:cubicBezTo>
                          <a:pt x="283" y="0"/>
                          <a:pt x="272" y="10"/>
                          <a:pt x="272" y="23"/>
                        </a:cubicBezTo>
                        <a:cubicBezTo>
                          <a:pt x="272" y="29"/>
                          <a:pt x="274" y="35"/>
                          <a:pt x="278" y="39"/>
                        </a:cubicBezTo>
                        <a:cubicBezTo>
                          <a:pt x="278" y="93"/>
                          <a:pt x="278" y="93"/>
                          <a:pt x="278" y="93"/>
                        </a:cubicBezTo>
                        <a:cubicBezTo>
                          <a:pt x="272" y="91"/>
                          <a:pt x="266" y="89"/>
                          <a:pt x="260" y="89"/>
                        </a:cubicBezTo>
                        <a:cubicBezTo>
                          <a:pt x="260" y="77"/>
                          <a:pt x="260" y="77"/>
                          <a:pt x="260" y="77"/>
                        </a:cubicBezTo>
                        <a:cubicBezTo>
                          <a:pt x="59" y="77"/>
                          <a:pt x="59" y="77"/>
                          <a:pt x="59" y="77"/>
                        </a:cubicBezTo>
                        <a:cubicBezTo>
                          <a:pt x="59" y="89"/>
                          <a:pt x="59" y="89"/>
                          <a:pt x="59" y="89"/>
                        </a:cubicBezTo>
                        <a:cubicBezTo>
                          <a:pt x="53" y="89"/>
                          <a:pt x="47" y="91"/>
                          <a:pt x="41" y="93"/>
                        </a:cubicBezTo>
                        <a:cubicBezTo>
                          <a:pt x="41" y="39"/>
                          <a:pt x="41" y="39"/>
                          <a:pt x="41" y="39"/>
                        </a:cubicBezTo>
                        <a:cubicBezTo>
                          <a:pt x="45" y="35"/>
                          <a:pt x="47" y="29"/>
                          <a:pt x="47" y="23"/>
                        </a:cubicBezTo>
                        <a:cubicBezTo>
                          <a:pt x="47" y="10"/>
                          <a:pt x="37" y="0"/>
                          <a:pt x="24" y="0"/>
                        </a:cubicBezTo>
                        <a:cubicBezTo>
                          <a:pt x="11" y="0"/>
                          <a:pt x="0" y="10"/>
                          <a:pt x="0" y="23"/>
                        </a:cubicBezTo>
                        <a:cubicBezTo>
                          <a:pt x="0" y="29"/>
                          <a:pt x="2" y="35"/>
                          <a:pt x="6" y="39"/>
                        </a:cubicBezTo>
                        <a:cubicBezTo>
                          <a:pt x="6" y="148"/>
                          <a:pt x="6" y="148"/>
                          <a:pt x="6" y="148"/>
                        </a:cubicBezTo>
                        <a:cubicBezTo>
                          <a:pt x="6" y="178"/>
                          <a:pt x="29" y="203"/>
                          <a:pt x="59" y="206"/>
                        </a:cubicBezTo>
                        <a:cubicBezTo>
                          <a:pt x="59" y="224"/>
                          <a:pt x="59" y="224"/>
                          <a:pt x="59" y="224"/>
                        </a:cubicBezTo>
                        <a:cubicBezTo>
                          <a:pt x="260" y="224"/>
                          <a:pt x="260" y="224"/>
                          <a:pt x="260" y="224"/>
                        </a:cubicBezTo>
                        <a:cubicBezTo>
                          <a:pt x="260" y="206"/>
                          <a:pt x="260" y="206"/>
                          <a:pt x="260" y="206"/>
                        </a:cubicBezTo>
                        <a:cubicBezTo>
                          <a:pt x="290" y="203"/>
                          <a:pt x="313" y="178"/>
                          <a:pt x="313" y="148"/>
                        </a:cubicBezTo>
                        <a:cubicBezTo>
                          <a:pt x="313" y="39"/>
                          <a:pt x="313" y="39"/>
                          <a:pt x="313" y="39"/>
                        </a:cubicBezTo>
                        <a:cubicBezTo>
                          <a:pt x="317" y="35"/>
                          <a:pt x="319" y="29"/>
                          <a:pt x="319" y="23"/>
                        </a:cubicBezTo>
                        <a:moveTo>
                          <a:pt x="296" y="12"/>
                        </a:moveTo>
                        <a:cubicBezTo>
                          <a:pt x="302" y="12"/>
                          <a:pt x="307" y="17"/>
                          <a:pt x="307" y="23"/>
                        </a:cubicBezTo>
                        <a:cubicBezTo>
                          <a:pt x="307" y="30"/>
                          <a:pt x="302" y="35"/>
                          <a:pt x="296" y="35"/>
                        </a:cubicBezTo>
                        <a:cubicBezTo>
                          <a:pt x="289" y="35"/>
                          <a:pt x="284" y="30"/>
                          <a:pt x="284" y="23"/>
                        </a:cubicBezTo>
                        <a:cubicBezTo>
                          <a:pt x="284" y="17"/>
                          <a:pt x="289" y="12"/>
                          <a:pt x="296" y="12"/>
                        </a:cubicBezTo>
                        <a:moveTo>
                          <a:pt x="24" y="12"/>
                        </a:moveTo>
                        <a:cubicBezTo>
                          <a:pt x="30" y="12"/>
                          <a:pt x="35" y="17"/>
                          <a:pt x="35" y="23"/>
                        </a:cubicBezTo>
                        <a:cubicBezTo>
                          <a:pt x="35" y="30"/>
                          <a:pt x="30" y="35"/>
                          <a:pt x="24" y="35"/>
                        </a:cubicBezTo>
                        <a:cubicBezTo>
                          <a:pt x="17" y="35"/>
                          <a:pt x="12" y="30"/>
                          <a:pt x="12" y="23"/>
                        </a:cubicBezTo>
                        <a:cubicBezTo>
                          <a:pt x="12" y="17"/>
                          <a:pt x="17" y="12"/>
                          <a:pt x="24" y="12"/>
                        </a:cubicBezTo>
                        <a:moveTo>
                          <a:pt x="18" y="46"/>
                        </a:moveTo>
                        <a:cubicBezTo>
                          <a:pt x="20" y="47"/>
                          <a:pt x="22" y="47"/>
                          <a:pt x="24" y="47"/>
                        </a:cubicBezTo>
                        <a:cubicBezTo>
                          <a:pt x="26" y="47"/>
                          <a:pt x="28" y="47"/>
                          <a:pt x="30" y="46"/>
                        </a:cubicBezTo>
                        <a:cubicBezTo>
                          <a:pt x="30" y="100"/>
                          <a:pt x="30" y="100"/>
                          <a:pt x="30" y="100"/>
                        </a:cubicBezTo>
                        <a:cubicBezTo>
                          <a:pt x="30" y="100"/>
                          <a:pt x="30" y="100"/>
                          <a:pt x="30" y="100"/>
                        </a:cubicBezTo>
                        <a:cubicBezTo>
                          <a:pt x="25" y="104"/>
                          <a:pt x="21" y="108"/>
                          <a:pt x="18" y="112"/>
                        </a:cubicBezTo>
                        <a:lnTo>
                          <a:pt x="18" y="46"/>
                        </a:lnTo>
                        <a:close/>
                        <a:moveTo>
                          <a:pt x="18" y="148"/>
                        </a:moveTo>
                        <a:cubicBezTo>
                          <a:pt x="18" y="123"/>
                          <a:pt x="36" y="104"/>
                          <a:pt x="59" y="101"/>
                        </a:cubicBezTo>
                        <a:cubicBezTo>
                          <a:pt x="59" y="118"/>
                          <a:pt x="59" y="118"/>
                          <a:pt x="59" y="118"/>
                        </a:cubicBezTo>
                        <a:cubicBezTo>
                          <a:pt x="47" y="118"/>
                          <a:pt x="47" y="118"/>
                          <a:pt x="47" y="118"/>
                        </a:cubicBezTo>
                        <a:cubicBezTo>
                          <a:pt x="47" y="130"/>
                          <a:pt x="47" y="130"/>
                          <a:pt x="47" y="130"/>
                        </a:cubicBezTo>
                        <a:cubicBezTo>
                          <a:pt x="59" y="130"/>
                          <a:pt x="59" y="130"/>
                          <a:pt x="59" y="130"/>
                        </a:cubicBezTo>
                        <a:cubicBezTo>
                          <a:pt x="59" y="142"/>
                          <a:pt x="59" y="142"/>
                          <a:pt x="59" y="142"/>
                        </a:cubicBezTo>
                        <a:cubicBezTo>
                          <a:pt x="47" y="142"/>
                          <a:pt x="47" y="142"/>
                          <a:pt x="47" y="142"/>
                        </a:cubicBezTo>
                        <a:cubicBezTo>
                          <a:pt x="47" y="153"/>
                          <a:pt x="47" y="153"/>
                          <a:pt x="47" y="153"/>
                        </a:cubicBezTo>
                        <a:cubicBezTo>
                          <a:pt x="59" y="153"/>
                          <a:pt x="59" y="153"/>
                          <a:pt x="59" y="153"/>
                        </a:cubicBezTo>
                        <a:cubicBezTo>
                          <a:pt x="59" y="165"/>
                          <a:pt x="59" y="165"/>
                          <a:pt x="59" y="165"/>
                        </a:cubicBezTo>
                        <a:cubicBezTo>
                          <a:pt x="47" y="165"/>
                          <a:pt x="47" y="165"/>
                          <a:pt x="47" y="165"/>
                        </a:cubicBezTo>
                        <a:cubicBezTo>
                          <a:pt x="47" y="177"/>
                          <a:pt x="47" y="177"/>
                          <a:pt x="47" y="177"/>
                        </a:cubicBezTo>
                        <a:cubicBezTo>
                          <a:pt x="59" y="177"/>
                          <a:pt x="59" y="177"/>
                          <a:pt x="59" y="177"/>
                        </a:cubicBezTo>
                        <a:cubicBezTo>
                          <a:pt x="59" y="194"/>
                          <a:pt x="59" y="194"/>
                          <a:pt x="59" y="194"/>
                        </a:cubicBezTo>
                        <a:cubicBezTo>
                          <a:pt x="36" y="192"/>
                          <a:pt x="18" y="172"/>
                          <a:pt x="18" y="148"/>
                        </a:cubicBezTo>
                        <a:moveTo>
                          <a:pt x="189" y="213"/>
                        </a:moveTo>
                        <a:cubicBezTo>
                          <a:pt x="130" y="213"/>
                          <a:pt x="130" y="213"/>
                          <a:pt x="130" y="213"/>
                        </a:cubicBezTo>
                        <a:cubicBezTo>
                          <a:pt x="130" y="189"/>
                          <a:pt x="130" y="189"/>
                          <a:pt x="130" y="189"/>
                        </a:cubicBezTo>
                        <a:cubicBezTo>
                          <a:pt x="189" y="189"/>
                          <a:pt x="189" y="189"/>
                          <a:pt x="189" y="189"/>
                        </a:cubicBezTo>
                        <a:lnTo>
                          <a:pt x="189" y="213"/>
                        </a:lnTo>
                        <a:close/>
                        <a:moveTo>
                          <a:pt x="248" y="213"/>
                        </a:moveTo>
                        <a:cubicBezTo>
                          <a:pt x="201" y="213"/>
                          <a:pt x="201" y="213"/>
                          <a:pt x="201" y="213"/>
                        </a:cubicBezTo>
                        <a:cubicBezTo>
                          <a:pt x="201" y="177"/>
                          <a:pt x="201" y="177"/>
                          <a:pt x="201" y="177"/>
                        </a:cubicBezTo>
                        <a:cubicBezTo>
                          <a:pt x="118" y="177"/>
                          <a:pt x="118" y="177"/>
                          <a:pt x="118" y="177"/>
                        </a:cubicBezTo>
                        <a:cubicBezTo>
                          <a:pt x="118" y="213"/>
                          <a:pt x="118" y="213"/>
                          <a:pt x="118" y="213"/>
                        </a:cubicBezTo>
                        <a:cubicBezTo>
                          <a:pt x="71" y="213"/>
                          <a:pt x="71" y="213"/>
                          <a:pt x="71" y="213"/>
                        </a:cubicBezTo>
                        <a:cubicBezTo>
                          <a:pt x="71" y="88"/>
                          <a:pt x="71" y="88"/>
                          <a:pt x="71" y="88"/>
                        </a:cubicBezTo>
                        <a:cubicBezTo>
                          <a:pt x="248" y="88"/>
                          <a:pt x="248" y="88"/>
                          <a:pt x="248" y="88"/>
                        </a:cubicBezTo>
                        <a:lnTo>
                          <a:pt x="248" y="213"/>
                        </a:lnTo>
                        <a:close/>
                        <a:moveTo>
                          <a:pt x="260" y="194"/>
                        </a:moveTo>
                        <a:cubicBezTo>
                          <a:pt x="260" y="177"/>
                          <a:pt x="260" y="177"/>
                          <a:pt x="260" y="177"/>
                        </a:cubicBezTo>
                        <a:cubicBezTo>
                          <a:pt x="272" y="177"/>
                          <a:pt x="272" y="177"/>
                          <a:pt x="272" y="177"/>
                        </a:cubicBezTo>
                        <a:cubicBezTo>
                          <a:pt x="272" y="165"/>
                          <a:pt x="272" y="165"/>
                          <a:pt x="272" y="165"/>
                        </a:cubicBezTo>
                        <a:cubicBezTo>
                          <a:pt x="260" y="165"/>
                          <a:pt x="260" y="165"/>
                          <a:pt x="260" y="165"/>
                        </a:cubicBezTo>
                        <a:cubicBezTo>
                          <a:pt x="260" y="153"/>
                          <a:pt x="260" y="153"/>
                          <a:pt x="260" y="153"/>
                        </a:cubicBezTo>
                        <a:cubicBezTo>
                          <a:pt x="272" y="153"/>
                          <a:pt x="272" y="153"/>
                          <a:pt x="272" y="153"/>
                        </a:cubicBezTo>
                        <a:cubicBezTo>
                          <a:pt x="272" y="142"/>
                          <a:pt x="272" y="142"/>
                          <a:pt x="272" y="142"/>
                        </a:cubicBezTo>
                        <a:cubicBezTo>
                          <a:pt x="260" y="142"/>
                          <a:pt x="260" y="142"/>
                          <a:pt x="260" y="142"/>
                        </a:cubicBezTo>
                        <a:cubicBezTo>
                          <a:pt x="260" y="130"/>
                          <a:pt x="260" y="130"/>
                          <a:pt x="260" y="130"/>
                        </a:cubicBezTo>
                        <a:cubicBezTo>
                          <a:pt x="272" y="130"/>
                          <a:pt x="272" y="130"/>
                          <a:pt x="272" y="130"/>
                        </a:cubicBezTo>
                        <a:cubicBezTo>
                          <a:pt x="272" y="118"/>
                          <a:pt x="272" y="118"/>
                          <a:pt x="272" y="118"/>
                        </a:cubicBezTo>
                        <a:cubicBezTo>
                          <a:pt x="260" y="118"/>
                          <a:pt x="260" y="118"/>
                          <a:pt x="260" y="118"/>
                        </a:cubicBezTo>
                        <a:cubicBezTo>
                          <a:pt x="260" y="101"/>
                          <a:pt x="260" y="101"/>
                          <a:pt x="260" y="101"/>
                        </a:cubicBezTo>
                        <a:cubicBezTo>
                          <a:pt x="283" y="104"/>
                          <a:pt x="302" y="123"/>
                          <a:pt x="302" y="148"/>
                        </a:cubicBezTo>
                        <a:cubicBezTo>
                          <a:pt x="302" y="172"/>
                          <a:pt x="283" y="192"/>
                          <a:pt x="260" y="194"/>
                        </a:cubicBezTo>
                        <a:moveTo>
                          <a:pt x="290" y="100"/>
                        </a:moveTo>
                        <a:cubicBezTo>
                          <a:pt x="290" y="100"/>
                          <a:pt x="290" y="100"/>
                          <a:pt x="290" y="100"/>
                        </a:cubicBezTo>
                        <a:cubicBezTo>
                          <a:pt x="290" y="46"/>
                          <a:pt x="290" y="46"/>
                          <a:pt x="290" y="46"/>
                        </a:cubicBezTo>
                        <a:cubicBezTo>
                          <a:pt x="292" y="47"/>
                          <a:pt x="294" y="47"/>
                          <a:pt x="296" y="47"/>
                        </a:cubicBezTo>
                        <a:cubicBezTo>
                          <a:pt x="298" y="47"/>
                          <a:pt x="300" y="47"/>
                          <a:pt x="302" y="46"/>
                        </a:cubicBezTo>
                        <a:cubicBezTo>
                          <a:pt x="302" y="112"/>
                          <a:pt x="302" y="112"/>
                          <a:pt x="302" y="112"/>
                        </a:cubicBezTo>
                        <a:cubicBezTo>
                          <a:pt x="298" y="108"/>
                          <a:pt x="294" y="104"/>
                          <a:pt x="290" y="10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30" name="Freeform 223"/>
                  <p:cNvSpPr>
                    <a:spLocks noEditPoints="1"/>
                  </p:cNvSpPr>
                  <p:nvPr/>
                </p:nvSpPr>
                <p:spPr bwMode="auto">
                  <a:xfrm>
                    <a:off x="5489575" y="4722813"/>
                    <a:ext cx="187325" cy="187325"/>
                  </a:xfrm>
                  <a:custGeom>
                    <a:avLst/>
                    <a:gdLst>
                      <a:gd name="T0" fmla="*/ 29 w 59"/>
                      <a:gd name="T1" fmla="*/ 59 h 59"/>
                      <a:gd name="T2" fmla="*/ 59 w 59"/>
                      <a:gd name="T3" fmla="*/ 30 h 59"/>
                      <a:gd name="T4" fmla="*/ 29 w 59"/>
                      <a:gd name="T5" fmla="*/ 0 h 59"/>
                      <a:gd name="T6" fmla="*/ 0 w 59"/>
                      <a:gd name="T7" fmla="*/ 30 h 59"/>
                      <a:gd name="T8" fmla="*/ 29 w 59"/>
                      <a:gd name="T9" fmla="*/ 59 h 59"/>
                      <a:gd name="T10" fmla="*/ 29 w 59"/>
                      <a:gd name="T11" fmla="*/ 12 h 59"/>
                      <a:gd name="T12" fmla="*/ 47 w 59"/>
                      <a:gd name="T13" fmla="*/ 30 h 59"/>
                      <a:gd name="T14" fmla="*/ 29 w 59"/>
                      <a:gd name="T15" fmla="*/ 47 h 59"/>
                      <a:gd name="T16" fmla="*/ 12 w 59"/>
                      <a:gd name="T17" fmla="*/ 30 h 59"/>
                      <a:gd name="T18" fmla="*/ 29 w 59"/>
                      <a:gd name="T19" fmla="*/ 1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59">
                        <a:moveTo>
                          <a:pt x="29" y="59"/>
                        </a:moveTo>
                        <a:cubicBezTo>
                          <a:pt x="46" y="59"/>
                          <a:pt x="59" y="46"/>
                          <a:pt x="59" y="30"/>
                        </a:cubicBezTo>
                        <a:cubicBezTo>
                          <a:pt x="59" y="13"/>
                          <a:pt x="46" y="0"/>
                          <a:pt x="29" y="0"/>
                        </a:cubicBezTo>
                        <a:cubicBezTo>
                          <a:pt x="13" y="0"/>
                          <a:pt x="0" y="13"/>
                          <a:pt x="0" y="30"/>
                        </a:cubicBezTo>
                        <a:cubicBezTo>
                          <a:pt x="0" y="46"/>
                          <a:pt x="13" y="59"/>
                          <a:pt x="29" y="59"/>
                        </a:cubicBezTo>
                        <a:moveTo>
                          <a:pt x="29" y="12"/>
                        </a:moveTo>
                        <a:cubicBezTo>
                          <a:pt x="39" y="12"/>
                          <a:pt x="47" y="20"/>
                          <a:pt x="47" y="30"/>
                        </a:cubicBezTo>
                        <a:cubicBezTo>
                          <a:pt x="47" y="39"/>
                          <a:pt x="39" y="47"/>
                          <a:pt x="29" y="47"/>
                        </a:cubicBezTo>
                        <a:cubicBezTo>
                          <a:pt x="20" y="47"/>
                          <a:pt x="12" y="39"/>
                          <a:pt x="12" y="30"/>
                        </a:cubicBezTo>
                        <a:cubicBezTo>
                          <a:pt x="12" y="20"/>
                          <a:pt x="20" y="12"/>
                          <a:pt x="29"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31" name="Freeform 224"/>
                  <p:cNvSpPr>
                    <a:spLocks noEditPoints="1"/>
                  </p:cNvSpPr>
                  <p:nvPr/>
                </p:nvSpPr>
                <p:spPr bwMode="auto">
                  <a:xfrm>
                    <a:off x="5788025" y="4722813"/>
                    <a:ext cx="187325" cy="187325"/>
                  </a:xfrm>
                  <a:custGeom>
                    <a:avLst/>
                    <a:gdLst>
                      <a:gd name="T0" fmla="*/ 30 w 59"/>
                      <a:gd name="T1" fmla="*/ 59 h 59"/>
                      <a:gd name="T2" fmla="*/ 59 w 59"/>
                      <a:gd name="T3" fmla="*/ 30 h 59"/>
                      <a:gd name="T4" fmla="*/ 30 w 59"/>
                      <a:gd name="T5" fmla="*/ 0 h 59"/>
                      <a:gd name="T6" fmla="*/ 0 w 59"/>
                      <a:gd name="T7" fmla="*/ 30 h 59"/>
                      <a:gd name="T8" fmla="*/ 30 w 59"/>
                      <a:gd name="T9" fmla="*/ 59 h 59"/>
                      <a:gd name="T10" fmla="*/ 30 w 59"/>
                      <a:gd name="T11" fmla="*/ 12 h 59"/>
                      <a:gd name="T12" fmla="*/ 48 w 59"/>
                      <a:gd name="T13" fmla="*/ 30 h 59"/>
                      <a:gd name="T14" fmla="*/ 30 w 59"/>
                      <a:gd name="T15" fmla="*/ 47 h 59"/>
                      <a:gd name="T16" fmla="*/ 12 w 59"/>
                      <a:gd name="T17" fmla="*/ 30 h 59"/>
                      <a:gd name="T18" fmla="*/ 30 w 59"/>
                      <a:gd name="T19" fmla="*/ 1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59">
                        <a:moveTo>
                          <a:pt x="30" y="59"/>
                        </a:moveTo>
                        <a:cubicBezTo>
                          <a:pt x="46" y="59"/>
                          <a:pt x="59" y="46"/>
                          <a:pt x="59" y="30"/>
                        </a:cubicBezTo>
                        <a:cubicBezTo>
                          <a:pt x="59" y="13"/>
                          <a:pt x="46" y="0"/>
                          <a:pt x="30" y="0"/>
                        </a:cubicBezTo>
                        <a:cubicBezTo>
                          <a:pt x="14" y="0"/>
                          <a:pt x="0" y="13"/>
                          <a:pt x="0" y="30"/>
                        </a:cubicBezTo>
                        <a:cubicBezTo>
                          <a:pt x="0" y="46"/>
                          <a:pt x="14" y="59"/>
                          <a:pt x="30" y="59"/>
                        </a:cubicBezTo>
                        <a:moveTo>
                          <a:pt x="30" y="12"/>
                        </a:moveTo>
                        <a:cubicBezTo>
                          <a:pt x="40" y="12"/>
                          <a:pt x="48" y="20"/>
                          <a:pt x="48" y="30"/>
                        </a:cubicBezTo>
                        <a:cubicBezTo>
                          <a:pt x="48" y="39"/>
                          <a:pt x="40" y="47"/>
                          <a:pt x="30" y="47"/>
                        </a:cubicBezTo>
                        <a:cubicBezTo>
                          <a:pt x="20" y="47"/>
                          <a:pt x="12" y="39"/>
                          <a:pt x="12" y="30"/>
                        </a:cubicBezTo>
                        <a:cubicBezTo>
                          <a:pt x="12" y="20"/>
                          <a:pt x="20" y="12"/>
                          <a:pt x="30"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grpSp>
          </p:grpSp>
          <p:sp>
            <p:nvSpPr>
              <p:cNvPr id="578" name="Rounded Rectangle 577"/>
              <p:cNvSpPr/>
              <p:nvPr/>
            </p:nvSpPr>
            <p:spPr bwMode="auto">
              <a:xfrm>
                <a:off x="4319668" y="3557455"/>
                <a:ext cx="736284" cy="751133"/>
              </a:xfrm>
              <a:prstGeom prst="roundRect">
                <a:avLst>
                  <a:gd name="adj" fmla="val 10644"/>
                </a:avLst>
              </a:prstGeom>
              <a:solidFill>
                <a:srgbClr val="666666"/>
              </a:solidFill>
              <a:ln w="12700" cap="flat" cmpd="sng" algn="ctr">
                <a:noFill/>
                <a:prstDash val="solid"/>
                <a:round/>
                <a:headEnd type="none" w="med" len="med"/>
                <a:tailEnd type="none" w="med" len="med"/>
              </a:ln>
              <a:effectLst/>
            </p:spPr>
            <p:txBody>
              <a:bodyPr vert="horz" wrap="square" lIns="18288" tIns="18288" rIns="18288" bIns="18288" numCol="1" rtlCol="0" anchor="b" anchorCtr="0" compatLnSpc="1">
                <a:prstTxWarp prst="textNoShape">
                  <a:avLst/>
                </a:prstTxWarp>
                <a:noAutofit/>
              </a:bodyPr>
              <a:lstStyle/>
              <a:p>
                <a:pPr algn="ctr"/>
                <a:endParaRPr lang="en-US" sz="800" dirty="0">
                  <a:solidFill>
                    <a:srgbClr val="FFFFFF"/>
                  </a:solidFill>
                  <a:latin typeface="Calibri"/>
                </a:endParaRPr>
              </a:p>
            </p:txBody>
          </p:sp>
          <p:grpSp>
            <p:nvGrpSpPr>
              <p:cNvPr id="579" name="Group 578"/>
              <p:cNvGrpSpPr/>
              <p:nvPr/>
            </p:nvGrpSpPr>
            <p:grpSpPr>
              <a:xfrm>
                <a:off x="4530553" y="3612563"/>
                <a:ext cx="329363" cy="329363"/>
                <a:chOff x="3795713" y="-1314613"/>
                <a:chExt cx="765175" cy="765175"/>
              </a:xfrm>
            </p:grpSpPr>
            <p:sp>
              <p:nvSpPr>
                <p:cNvPr id="598" name="Freeform 68"/>
                <p:cNvSpPr>
                  <a:spLocks/>
                </p:cNvSpPr>
                <p:nvPr/>
              </p:nvSpPr>
              <p:spPr bwMode="auto">
                <a:xfrm>
                  <a:off x="3795713" y="-1314613"/>
                  <a:ext cx="765175" cy="498474"/>
                </a:xfrm>
                <a:custGeom>
                  <a:avLst/>
                  <a:gdLst>
                    <a:gd name="T0" fmla="*/ 30 w 241"/>
                    <a:gd name="T1" fmla="*/ 114 h 157"/>
                    <a:gd name="T2" fmla="*/ 121 w 241"/>
                    <a:gd name="T3" fmla="*/ 72 h 157"/>
                    <a:gd name="T4" fmla="*/ 221 w 241"/>
                    <a:gd name="T5" fmla="*/ 127 h 157"/>
                    <a:gd name="T6" fmla="*/ 236 w 241"/>
                    <a:gd name="T7" fmla="*/ 157 h 157"/>
                    <a:gd name="T8" fmla="*/ 241 w 241"/>
                    <a:gd name="T9" fmla="*/ 120 h 157"/>
                    <a:gd name="T10" fmla="*/ 121 w 241"/>
                    <a:gd name="T11" fmla="*/ 0 h 157"/>
                    <a:gd name="T12" fmla="*/ 0 w 241"/>
                    <a:gd name="T13" fmla="*/ 120 h 157"/>
                    <a:gd name="T14" fmla="*/ 6 w 241"/>
                    <a:gd name="T15" fmla="*/ 157 h 157"/>
                    <a:gd name="T16" fmla="*/ 30 w 241"/>
                    <a:gd name="T17" fmla="*/ 11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157">
                      <a:moveTo>
                        <a:pt x="30" y="114"/>
                      </a:moveTo>
                      <a:cubicBezTo>
                        <a:pt x="52" y="89"/>
                        <a:pt x="84" y="72"/>
                        <a:pt x="121" y="72"/>
                      </a:cubicBezTo>
                      <a:cubicBezTo>
                        <a:pt x="163" y="72"/>
                        <a:pt x="200" y="94"/>
                        <a:pt x="221" y="127"/>
                      </a:cubicBezTo>
                      <a:cubicBezTo>
                        <a:pt x="228" y="136"/>
                        <a:pt x="232" y="146"/>
                        <a:pt x="236" y="157"/>
                      </a:cubicBezTo>
                      <a:cubicBezTo>
                        <a:pt x="239" y="145"/>
                        <a:pt x="241" y="133"/>
                        <a:pt x="241" y="120"/>
                      </a:cubicBezTo>
                      <a:cubicBezTo>
                        <a:pt x="241" y="54"/>
                        <a:pt x="187" y="0"/>
                        <a:pt x="121" y="0"/>
                      </a:cubicBezTo>
                      <a:cubicBezTo>
                        <a:pt x="54" y="0"/>
                        <a:pt x="0" y="54"/>
                        <a:pt x="0" y="120"/>
                      </a:cubicBezTo>
                      <a:cubicBezTo>
                        <a:pt x="0" y="133"/>
                        <a:pt x="2" y="145"/>
                        <a:pt x="6" y="157"/>
                      </a:cubicBezTo>
                      <a:cubicBezTo>
                        <a:pt x="11" y="141"/>
                        <a:pt x="19" y="126"/>
                        <a:pt x="30" y="114"/>
                      </a:cubicBezTo>
                    </a:path>
                  </a:pathLst>
                </a:custGeom>
                <a:solidFill>
                  <a:srgbClr val="FFFFFF">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599" name="Freeform 69"/>
                <p:cNvSpPr>
                  <a:spLocks noEditPoints="1"/>
                </p:cNvSpPr>
                <p:nvPr/>
              </p:nvSpPr>
              <p:spPr bwMode="auto">
                <a:xfrm>
                  <a:off x="3890964" y="-1086013"/>
                  <a:ext cx="615949" cy="536575"/>
                </a:xfrm>
                <a:custGeom>
                  <a:avLst/>
                  <a:gdLst>
                    <a:gd name="T0" fmla="*/ 124 w 194"/>
                    <a:gd name="T1" fmla="*/ 132 h 169"/>
                    <a:gd name="T2" fmla="*/ 126 w 194"/>
                    <a:gd name="T3" fmla="*/ 113 h 169"/>
                    <a:gd name="T4" fmla="*/ 135 w 194"/>
                    <a:gd name="T5" fmla="*/ 99 h 169"/>
                    <a:gd name="T6" fmla="*/ 154 w 194"/>
                    <a:gd name="T7" fmla="*/ 103 h 169"/>
                    <a:gd name="T8" fmla="*/ 167 w 194"/>
                    <a:gd name="T9" fmla="*/ 97 h 169"/>
                    <a:gd name="T10" fmla="*/ 164 w 194"/>
                    <a:gd name="T11" fmla="*/ 82 h 169"/>
                    <a:gd name="T12" fmla="*/ 142 w 194"/>
                    <a:gd name="T13" fmla="*/ 79 h 169"/>
                    <a:gd name="T14" fmla="*/ 152 w 194"/>
                    <a:gd name="T15" fmla="*/ 63 h 169"/>
                    <a:gd name="T16" fmla="*/ 167 w 194"/>
                    <a:gd name="T17" fmla="*/ 65 h 169"/>
                    <a:gd name="T18" fmla="*/ 177 w 194"/>
                    <a:gd name="T19" fmla="*/ 61 h 169"/>
                    <a:gd name="T20" fmla="*/ 184 w 194"/>
                    <a:gd name="T21" fmla="*/ 75 h 169"/>
                    <a:gd name="T22" fmla="*/ 194 w 194"/>
                    <a:gd name="T23" fmla="*/ 69 h 169"/>
                    <a:gd name="T24" fmla="*/ 191 w 194"/>
                    <a:gd name="T25" fmla="*/ 55 h 169"/>
                    <a:gd name="T26" fmla="*/ 191 w 194"/>
                    <a:gd name="T27" fmla="*/ 55 h 169"/>
                    <a:gd name="T28" fmla="*/ 91 w 194"/>
                    <a:gd name="T29" fmla="*/ 0 h 169"/>
                    <a:gd name="T30" fmla="*/ 0 w 194"/>
                    <a:gd name="T31" fmla="*/ 42 h 169"/>
                    <a:gd name="T32" fmla="*/ 5 w 194"/>
                    <a:gd name="T33" fmla="*/ 53 h 169"/>
                    <a:gd name="T34" fmla="*/ 11 w 194"/>
                    <a:gd name="T35" fmla="*/ 56 h 169"/>
                    <a:gd name="T36" fmla="*/ 19 w 194"/>
                    <a:gd name="T37" fmla="*/ 50 h 169"/>
                    <a:gd name="T38" fmla="*/ 25 w 194"/>
                    <a:gd name="T39" fmla="*/ 39 h 169"/>
                    <a:gd name="T40" fmla="*/ 32 w 194"/>
                    <a:gd name="T41" fmla="*/ 35 h 169"/>
                    <a:gd name="T42" fmla="*/ 45 w 194"/>
                    <a:gd name="T43" fmla="*/ 39 h 169"/>
                    <a:gd name="T44" fmla="*/ 51 w 194"/>
                    <a:gd name="T45" fmla="*/ 50 h 169"/>
                    <a:gd name="T46" fmla="*/ 37 w 194"/>
                    <a:gd name="T47" fmla="*/ 69 h 169"/>
                    <a:gd name="T48" fmla="*/ 41 w 194"/>
                    <a:gd name="T49" fmla="*/ 84 h 169"/>
                    <a:gd name="T50" fmla="*/ 59 w 194"/>
                    <a:gd name="T51" fmla="*/ 85 h 169"/>
                    <a:gd name="T52" fmla="*/ 70 w 194"/>
                    <a:gd name="T53" fmla="*/ 73 h 169"/>
                    <a:gd name="T54" fmla="*/ 79 w 194"/>
                    <a:gd name="T55" fmla="*/ 80 h 169"/>
                    <a:gd name="T56" fmla="*/ 78 w 194"/>
                    <a:gd name="T57" fmla="*/ 94 h 169"/>
                    <a:gd name="T58" fmla="*/ 67 w 194"/>
                    <a:gd name="T59" fmla="*/ 105 h 169"/>
                    <a:gd name="T60" fmla="*/ 51 w 194"/>
                    <a:gd name="T61" fmla="*/ 116 h 169"/>
                    <a:gd name="T62" fmla="*/ 38 w 194"/>
                    <a:gd name="T63" fmla="*/ 107 h 169"/>
                    <a:gd name="T64" fmla="*/ 34 w 194"/>
                    <a:gd name="T65" fmla="*/ 117 h 169"/>
                    <a:gd name="T66" fmla="*/ 44 w 194"/>
                    <a:gd name="T67" fmla="*/ 125 h 169"/>
                    <a:gd name="T68" fmla="*/ 52 w 194"/>
                    <a:gd name="T69" fmla="*/ 136 h 169"/>
                    <a:gd name="T70" fmla="*/ 44 w 194"/>
                    <a:gd name="T71" fmla="*/ 153 h 169"/>
                    <a:gd name="T72" fmla="*/ 36 w 194"/>
                    <a:gd name="T73" fmla="*/ 156 h 169"/>
                    <a:gd name="T74" fmla="*/ 91 w 194"/>
                    <a:gd name="T75" fmla="*/ 169 h 169"/>
                    <a:gd name="T76" fmla="*/ 146 w 194"/>
                    <a:gd name="T77" fmla="*/ 155 h 169"/>
                    <a:gd name="T78" fmla="*/ 146 w 194"/>
                    <a:gd name="T79" fmla="*/ 155 h 169"/>
                    <a:gd name="T80" fmla="*/ 124 w 194"/>
                    <a:gd name="T81" fmla="*/ 132 h 169"/>
                    <a:gd name="T82" fmla="*/ 98 w 194"/>
                    <a:gd name="T83" fmla="*/ 31 h 169"/>
                    <a:gd name="T84" fmla="*/ 80 w 194"/>
                    <a:gd name="T85" fmla="*/ 47 h 169"/>
                    <a:gd name="T86" fmla="*/ 66 w 194"/>
                    <a:gd name="T87" fmla="*/ 44 h 169"/>
                    <a:gd name="T88" fmla="*/ 65 w 194"/>
                    <a:gd name="T89" fmla="*/ 33 h 169"/>
                    <a:gd name="T90" fmla="*/ 58 w 194"/>
                    <a:gd name="T91" fmla="*/ 22 h 169"/>
                    <a:gd name="T92" fmla="*/ 65 w 194"/>
                    <a:gd name="T93" fmla="*/ 11 h 169"/>
                    <a:gd name="T94" fmla="*/ 89 w 194"/>
                    <a:gd name="T95" fmla="*/ 15 h 169"/>
                    <a:gd name="T96" fmla="*/ 108 w 194"/>
                    <a:gd name="T97" fmla="*/ 16 h 169"/>
                    <a:gd name="T98" fmla="*/ 118 w 194"/>
                    <a:gd name="T99" fmla="*/ 26 h 169"/>
                    <a:gd name="T100" fmla="*/ 98 w 194"/>
                    <a:gd name="T101" fmla="*/ 3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169">
                      <a:moveTo>
                        <a:pt x="124" y="132"/>
                      </a:moveTo>
                      <a:cubicBezTo>
                        <a:pt x="126" y="113"/>
                        <a:pt x="126" y="113"/>
                        <a:pt x="126" y="113"/>
                      </a:cubicBezTo>
                      <a:cubicBezTo>
                        <a:pt x="135" y="99"/>
                        <a:pt x="135" y="99"/>
                        <a:pt x="135" y="99"/>
                      </a:cubicBezTo>
                      <a:cubicBezTo>
                        <a:pt x="154" y="103"/>
                        <a:pt x="154" y="103"/>
                        <a:pt x="154" y="103"/>
                      </a:cubicBezTo>
                      <a:cubicBezTo>
                        <a:pt x="167" y="97"/>
                        <a:pt x="167" y="97"/>
                        <a:pt x="167" y="97"/>
                      </a:cubicBezTo>
                      <a:cubicBezTo>
                        <a:pt x="167" y="97"/>
                        <a:pt x="165" y="82"/>
                        <a:pt x="164" y="82"/>
                      </a:cubicBezTo>
                      <a:cubicBezTo>
                        <a:pt x="163" y="82"/>
                        <a:pt x="142" y="79"/>
                        <a:pt x="142" y="79"/>
                      </a:cubicBezTo>
                      <a:cubicBezTo>
                        <a:pt x="152" y="63"/>
                        <a:pt x="152" y="63"/>
                        <a:pt x="152" y="63"/>
                      </a:cubicBezTo>
                      <a:cubicBezTo>
                        <a:pt x="167" y="65"/>
                        <a:pt x="167" y="65"/>
                        <a:pt x="167" y="65"/>
                      </a:cubicBezTo>
                      <a:cubicBezTo>
                        <a:pt x="177" y="61"/>
                        <a:pt x="177" y="61"/>
                        <a:pt x="177" y="61"/>
                      </a:cubicBezTo>
                      <a:cubicBezTo>
                        <a:pt x="184" y="75"/>
                        <a:pt x="184" y="75"/>
                        <a:pt x="184" y="75"/>
                      </a:cubicBezTo>
                      <a:cubicBezTo>
                        <a:pt x="194" y="69"/>
                        <a:pt x="194" y="69"/>
                        <a:pt x="194" y="69"/>
                      </a:cubicBezTo>
                      <a:cubicBezTo>
                        <a:pt x="191" y="55"/>
                        <a:pt x="191" y="55"/>
                        <a:pt x="191" y="55"/>
                      </a:cubicBezTo>
                      <a:cubicBezTo>
                        <a:pt x="191" y="55"/>
                        <a:pt x="191" y="55"/>
                        <a:pt x="191" y="55"/>
                      </a:cubicBezTo>
                      <a:cubicBezTo>
                        <a:pt x="170" y="22"/>
                        <a:pt x="133" y="0"/>
                        <a:pt x="91" y="0"/>
                      </a:cubicBezTo>
                      <a:cubicBezTo>
                        <a:pt x="54" y="0"/>
                        <a:pt x="22" y="17"/>
                        <a:pt x="0" y="42"/>
                      </a:cubicBezTo>
                      <a:cubicBezTo>
                        <a:pt x="5" y="53"/>
                        <a:pt x="5" y="53"/>
                        <a:pt x="5" y="53"/>
                      </a:cubicBezTo>
                      <a:cubicBezTo>
                        <a:pt x="11" y="56"/>
                        <a:pt x="11" y="56"/>
                        <a:pt x="11" y="56"/>
                      </a:cubicBezTo>
                      <a:cubicBezTo>
                        <a:pt x="19" y="50"/>
                        <a:pt x="19" y="50"/>
                        <a:pt x="19" y="50"/>
                      </a:cubicBezTo>
                      <a:cubicBezTo>
                        <a:pt x="25" y="39"/>
                        <a:pt x="25" y="39"/>
                        <a:pt x="25" y="39"/>
                      </a:cubicBezTo>
                      <a:cubicBezTo>
                        <a:pt x="32" y="35"/>
                        <a:pt x="32" y="35"/>
                        <a:pt x="32" y="35"/>
                      </a:cubicBezTo>
                      <a:cubicBezTo>
                        <a:pt x="45" y="39"/>
                        <a:pt x="45" y="39"/>
                        <a:pt x="45" y="39"/>
                      </a:cubicBezTo>
                      <a:cubicBezTo>
                        <a:pt x="51" y="50"/>
                        <a:pt x="51" y="50"/>
                        <a:pt x="51" y="50"/>
                      </a:cubicBezTo>
                      <a:cubicBezTo>
                        <a:pt x="37" y="69"/>
                        <a:pt x="37" y="69"/>
                        <a:pt x="37" y="69"/>
                      </a:cubicBezTo>
                      <a:cubicBezTo>
                        <a:pt x="41" y="84"/>
                        <a:pt x="41" y="84"/>
                        <a:pt x="41" y="84"/>
                      </a:cubicBezTo>
                      <a:cubicBezTo>
                        <a:pt x="59" y="85"/>
                        <a:pt x="59" y="85"/>
                        <a:pt x="59" y="85"/>
                      </a:cubicBezTo>
                      <a:cubicBezTo>
                        <a:pt x="70" y="73"/>
                        <a:pt x="70" y="73"/>
                        <a:pt x="70" y="73"/>
                      </a:cubicBezTo>
                      <a:cubicBezTo>
                        <a:pt x="79" y="80"/>
                        <a:pt x="79" y="80"/>
                        <a:pt x="79" y="80"/>
                      </a:cubicBezTo>
                      <a:cubicBezTo>
                        <a:pt x="78" y="94"/>
                        <a:pt x="78" y="94"/>
                        <a:pt x="78" y="94"/>
                      </a:cubicBezTo>
                      <a:cubicBezTo>
                        <a:pt x="78" y="94"/>
                        <a:pt x="68" y="105"/>
                        <a:pt x="67" y="105"/>
                      </a:cubicBezTo>
                      <a:cubicBezTo>
                        <a:pt x="66" y="105"/>
                        <a:pt x="51" y="116"/>
                        <a:pt x="51" y="116"/>
                      </a:cubicBezTo>
                      <a:cubicBezTo>
                        <a:pt x="38" y="107"/>
                        <a:pt x="38" y="107"/>
                        <a:pt x="38" y="107"/>
                      </a:cubicBezTo>
                      <a:cubicBezTo>
                        <a:pt x="34" y="117"/>
                        <a:pt x="34" y="117"/>
                        <a:pt x="34" y="117"/>
                      </a:cubicBezTo>
                      <a:cubicBezTo>
                        <a:pt x="44" y="125"/>
                        <a:pt x="44" y="125"/>
                        <a:pt x="44" y="125"/>
                      </a:cubicBezTo>
                      <a:cubicBezTo>
                        <a:pt x="52" y="136"/>
                        <a:pt x="52" y="136"/>
                        <a:pt x="52" y="136"/>
                      </a:cubicBezTo>
                      <a:cubicBezTo>
                        <a:pt x="44" y="153"/>
                        <a:pt x="44" y="153"/>
                        <a:pt x="44" y="153"/>
                      </a:cubicBezTo>
                      <a:cubicBezTo>
                        <a:pt x="44" y="153"/>
                        <a:pt x="41" y="154"/>
                        <a:pt x="36" y="156"/>
                      </a:cubicBezTo>
                      <a:cubicBezTo>
                        <a:pt x="53" y="164"/>
                        <a:pt x="71" y="169"/>
                        <a:pt x="91" y="169"/>
                      </a:cubicBezTo>
                      <a:cubicBezTo>
                        <a:pt x="111" y="169"/>
                        <a:pt x="130" y="164"/>
                        <a:pt x="146" y="155"/>
                      </a:cubicBezTo>
                      <a:cubicBezTo>
                        <a:pt x="146" y="155"/>
                        <a:pt x="146" y="155"/>
                        <a:pt x="146" y="155"/>
                      </a:cubicBezTo>
                      <a:lnTo>
                        <a:pt x="124" y="132"/>
                      </a:lnTo>
                      <a:close/>
                      <a:moveTo>
                        <a:pt x="98" y="31"/>
                      </a:moveTo>
                      <a:cubicBezTo>
                        <a:pt x="80" y="47"/>
                        <a:pt x="80" y="47"/>
                        <a:pt x="80" y="47"/>
                      </a:cubicBezTo>
                      <a:cubicBezTo>
                        <a:pt x="66" y="44"/>
                        <a:pt x="66" y="44"/>
                        <a:pt x="66" y="44"/>
                      </a:cubicBezTo>
                      <a:cubicBezTo>
                        <a:pt x="65" y="33"/>
                        <a:pt x="65" y="33"/>
                        <a:pt x="65" y="33"/>
                      </a:cubicBezTo>
                      <a:cubicBezTo>
                        <a:pt x="58" y="22"/>
                        <a:pt x="58" y="22"/>
                        <a:pt x="58" y="22"/>
                      </a:cubicBezTo>
                      <a:cubicBezTo>
                        <a:pt x="65" y="11"/>
                        <a:pt x="65" y="11"/>
                        <a:pt x="65" y="11"/>
                      </a:cubicBezTo>
                      <a:cubicBezTo>
                        <a:pt x="89" y="15"/>
                        <a:pt x="89" y="15"/>
                        <a:pt x="89" y="15"/>
                      </a:cubicBezTo>
                      <a:cubicBezTo>
                        <a:pt x="108" y="16"/>
                        <a:pt x="108" y="16"/>
                        <a:pt x="108" y="16"/>
                      </a:cubicBezTo>
                      <a:cubicBezTo>
                        <a:pt x="118" y="26"/>
                        <a:pt x="118" y="26"/>
                        <a:pt x="118" y="26"/>
                      </a:cubicBezTo>
                      <a:lnTo>
                        <a:pt x="98"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00" name="Freeform 70"/>
                <p:cNvSpPr>
                  <a:spLocks/>
                </p:cNvSpPr>
                <p:nvPr/>
              </p:nvSpPr>
              <p:spPr bwMode="auto">
                <a:xfrm>
                  <a:off x="3814763" y="-960438"/>
                  <a:ext cx="327025" cy="384175"/>
                </a:xfrm>
                <a:custGeom>
                  <a:avLst/>
                  <a:gdLst>
                    <a:gd name="T0" fmla="*/ 76 w 103"/>
                    <a:gd name="T1" fmla="*/ 101 h 121"/>
                    <a:gd name="T2" fmla="*/ 68 w 103"/>
                    <a:gd name="T3" fmla="*/ 90 h 121"/>
                    <a:gd name="T4" fmla="*/ 58 w 103"/>
                    <a:gd name="T5" fmla="*/ 82 h 121"/>
                    <a:gd name="T6" fmla="*/ 62 w 103"/>
                    <a:gd name="T7" fmla="*/ 72 h 121"/>
                    <a:gd name="T8" fmla="*/ 75 w 103"/>
                    <a:gd name="T9" fmla="*/ 81 h 121"/>
                    <a:gd name="T10" fmla="*/ 91 w 103"/>
                    <a:gd name="T11" fmla="*/ 70 h 121"/>
                    <a:gd name="T12" fmla="*/ 102 w 103"/>
                    <a:gd name="T13" fmla="*/ 59 h 121"/>
                    <a:gd name="T14" fmla="*/ 103 w 103"/>
                    <a:gd name="T15" fmla="*/ 45 h 121"/>
                    <a:gd name="T16" fmla="*/ 94 w 103"/>
                    <a:gd name="T17" fmla="*/ 38 h 121"/>
                    <a:gd name="T18" fmla="*/ 83 w 103"/>
                    <a:gd name="T19" fmla="*/ 50 h 121"/>
                    <a:gd name="T20" fmla="*/ 65 w 103"/>
                    <a:gd name="T21" fmla="*/ 49 h 121"/>
                    <a:gd name="T22" fmla="*/ 61 w 103"/>
                    <a:gd name="T23" fmla="*/ 34 h 121"/>
                    <a:gd name="T24" fmla="*/ 75 w 103"/>
                    <a:gd name="T25" fmla="*/ 15 h 121"/>
                    <a:gd name="T26" fmla="*/ 69 w 103"/>
                    <a:gd name="T27" fmla="*/ 4 h 121"/>
                    <a:gd name="T28" fmla="*/ 56 w 103"/>
                    <a:gd name="T29" fmla="*/ 0 h 121"/>
                    <a:gd name="T30" fmla="*/ 49 w 103"/>
                    <a:gd name="T31" fmla="*/ 4 h 121"/>
                    <a:gd name="T32" fmla="*/ 43 w 103"/>
                    <a:gd name="T33" fmla="*/ 15 h 121"/>
                    <a:gd name="T34" fmla="*/ 35 w 103"/>
                    <a:gd name="T35" fmla="*/ 21 h 121"/>
                    <a:gd name="T36" fmla="*/ 29 w 103"/>
                    <a:gd name="T37" fmla="*/ 18 h 121"/>
                    <a:gd name="T38" fmla="*/ 24 w 103"/>
                    <a:gd name="T39" fmla="*/ 7 h 121"/>
                    <a:gd name="T40" fmla="*/ 0 w 103"/>
                    <a:gd name="T41" fmla="*/ 50 h 121"/>
                    <a:gd name="T42" fmla="*/ 60 w 103"/>
                    <a:gd name="T43" fmla="*/ 121 h 121"/>
                    <a:gd name="T44" fmla="*/ 68 w 103"/>
                    <a:gd name="T45" fmla="*/ 118 h 121"/>
                    <a:gd name="T46" fmla="*/ 76 w 103"/>
                    <a:gd name="T47" fmla="*/ 10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3" h="121">
                      <a:moveTo>
                        <a:pt x="76" y="101"/>
                      </a:moveTo>
                      <a:cubicBezTo>
                        <a:pt x="68" y="90"/>
                        <a:pt x="68" y="90"/>
                        <a:pt x="68" y="90"/>
                      </a:cubicBezTo>
                      <a:cubicBezTo>
                        <a:pt x="58" y="82"/>
                        <a:pt x="58" y="82"/>
                        <a:pt x="58" y="82"/>
                      </a:cubicBezTo>
                      <a:cubicBezTo>
                        <a:pt x="62" y="72"/>
                        <a:pt x="62" y="72"/>
                        <a:pt x="62" y="72"/>
                      </a:cubicBezTo>
                      <a:cubicBezTo>
                        <a:pt x="75" y="81"/>
                        <a:pt x="75" y="81"/>
                        <a:pt x="75" y="81"/>
                      </a:cubicBezTo>
                      <a:cubicBezTo>
                        <a:pt x="75" y="81"/>
                        <a:pt x="90" y="70"/>
                        <a:pt x="91" y="70"/>
                      </a:cubicBezTo>
                      <a:cubicBezTo>
                        <a:pt x="92" y="70"/>
                        <a:pt x="102" y="59"/>
                        <a:pt x="102" y="59"/>
                      </a:cubicBezTo>
                      <a:cubicBezTo>
                        <a:pt x="103" y="45"/>
                        <a:pt x="103" y="45"/>
                        <a:pt x="103" y="45"/>
                      </a:cubicBezTo>
                      <a:cubicBezTo>
                        <a:pt x="94" y="38"/>
                        <a:pt x="94" y="38"/>
                        <a:pt x="94" y="38"/>
                      </a:cubicBezTo>
                      <a:cubicBezTo>
                        <a:pt x="83" y="50"/>
                        <a:pt x="83" y="50"/>
                        <a:pt x="83" y="50"/>
                      </a:cubicBezTo>
                      <a:cubicBezTo>
                        <a:pt x="65" y="49"/>
                        <a:pt x="65" y="49"/>
                        <a:pt x="65" y="49"/>
                      </a:cubicBezTo>
                      <a:cubicBezTo>
                        <a:pt x="61" y="34"/>
                        <a:pt x="61" y="34"/>
                        <a:pt x="61" y="34"/>
                      </a:cubicBezTo>
                      <a:cubicBezTo>
                        <a:pt x="75" y="15"/>
                        <a:pt x="75" y="15"/>
                        <a:pt x="75" y="15"/>
                      </a:cubicBezTo>
                      <a:cubicBezTo>
                        <a:pt x="69" y="4"/>
                        <a:pt x="69" y="4"/>
                        <a:pt x="69" y="4"/>
                      </a:cubicBezTo>
                      <a:cubicBezTo>
                        <a:pt x="56" y="0"/>
                        <a:pt x="56" y="0"/>
                        <a:pt x="56" y="0"/>
                      </a:cubicBezTo>
                      <a:cubicBezTo>
                        <a:pt x="49" y="4"/>
                        <a:pt x="49" y="4"/>
                        <a:pt x="49" y="4"/>
                      </a:cubicBezTo>
                      <a:cubicBezTo>
                        <a:pt x="43" y="15"/>
                        <a:pt x="43" y="15"/>
                        <a:pt x="43" y="15"/>
                      </a:cubicBezTo>
                      <a:cubicBezTo>
                        <a:pt x="35" y="21"/>
                        <a:pt x="35" y="21"/>
                        <a:pt x="35" y="21"/>
                      </a:cubicBezTo>
                      <a:cubicBezTo>
                        <a:pt x="29" y="18"/>
                        <a:pt x="29" y="18"/>
                        <a:pt x="29" y="18"/>
                      </a:cubicBezTo>
                      <a:cubicBezTo>
                        <a:pt x="24" y="7"/>
                        <a:pt x="24" y="7"/>
                        <a:pt x="24" y="7"/>
                      </a:cubicBezTo>
                      <a:cubicBezTo>
                        <a:pt x="13" y="19"/>
                        <a:pt x="5" y="34"/>
                        <a:pt x="0" y="50"/>
                      </a:cubicBezTo>
                      <a:cubicBezTo>
                        <a:pt x="10" y="81"/>
                        <a:pt x="32" y="106"/>
                        <a:pt x="60" y="121"/>
                      </a:cubicBezTo>
                      <a:cubicBezTo>
                        <a:pt x="65" y="119"/>
                        <a:pt x="68" y="118"/>
                        <a:pt x="68" y="118"/>
                      </a:cubicBezTo>
                      <a:lnTo>
                        <a:pt x="76" y="101"/>
                      </a:lnTo>
                      <a:close/>
                    </a:path>
                  </a:pathLst>
                </a:custGeom>
                <a:solidFill>
                  <a:srgbClr val="000000">
                    <a:lumMod val="50000"/>
                    <a:lumOff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01" name="Freeform 71"/>
                <p:cNvSpPr>
                  <a:spLocks/>
                </p:cNvSpPr>
                <p:nvPr/>
              </p:nvSpPr>
              <p:spPr bwMode="auto">
                <a:xfrm>
                  <a:off x="4075113" y="-1036638"/>
                  <a:ext cx="190500" cy="114300"/>
                </a:xfrm>
                <a:custGeom>
                  <a:avLst/>
                  <a:gdLst>
                    <a:gd name="T0" fmla="*/ 62 w 120"/>
                    <a:gd name="T1" fmla="*/ 8 h 72"/>
                    <a:gd name="T2" fmla="*/ 14 w 120"/>
                    <a:gd name="T3" fmla="*/ 0 h 72"/>
                    <a:gd name="T4" fmla="*/ 0 w 120"/>
                    <a:gd name="T5" fmla="*/ 22 h 72"/>
                    <a:gd name="T6" fmla="*/ 14 w 120"/>
                    <a:gd name="T7" fmla="*/ 44 h 72"/>
                    <a:gd name="T8" fmla="*/ 16 w 120"/>
                    <a:gd name="T9" fmla="*/ 66 h 72"/>
                    <a:gd name="T10" fmla="*/ 44 w 120"/>
                    <a:gd name="T11" fmla="*/ 72 h 72"/>
                    <a:gd name="T12" fmla="*/ 80 w 120"/>
                    <a:gd name="T13" fmla="*/ 40 h 72"/>
                    <a:gd name="T14" fmla="*/ 120 w 120"/>
                    <a:gd name="T15" fmla="*/ 30 h 72"/>
                    <a:gd name="T16" fmla="*/ 100 w 120"/>
                    <a:gd name="T17" fmla="*/ 10 h 72"/>
                    <a:gd name="T18" fmla="*/ 62 w 120"/>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72">
                      <a:moveTo>
                        <a:pt x="62" y="8"/>
                      </a:moveTo>
                      <a:lnTo>
                        <a:pt x="14" y="0"/>
                      </a:lnTo>
                      <a:lnTo>
                        <a:pt x="0" y="22"/>
                      </a:lnTo>
                      <a:lnTo>
                        <a:pt x="14" y="44"/>
                      </a:lnTo>
                      <a:lnTo>
                        <a:pt x="16" y="66"/>
                      </a:lnTo>
                      <a:lnTo>
                        <a:pt x="44" y="72"/>
                      </a:lnTo>
                      <a:lnTo>
                        <a:pt x="80" y="40"/>
                      </a:lnTo>
                      <a:lnTo>
                        <a:pt x="120" y="30"/>
                      </a:lnTo>
                      <a:lnTo>
                        <a:pt x="100" y="10"/>
                      </a:lnTo>
                      <a:lnTo>
                        <a:pt x="62" y="8"/>
                      </a:lnTo>
                      <a:close/>
                    </a:path>
                  </a:pathLst>
                </a:custGeom>
                <a:solidFill>
                  <a:srgbClr val="000000">
                    <a:lumMod val="50000"/>
                    <a:lumOff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02" name="Freeform 72"/>
                <p:cNvSpPr>
                  <a:spLocks/>
                </p:cNvSpPr>
                <p:nvPr/>
              </p:nvSpPr>
              <p:spPr bwMode="auto">
                <a:xfrm>
                  <a:off x="4284663" y="-896938"/>
                  <a:ext cx="260350" cy="317500"/>
                </a:xfrm>
                <a:custGeom>
                  <a:avLst/>
                  <a:gdLst>
                    <a:gd name="T0" fmla="*/ 67 w 82"/>
                    <a:gd name="T1" fmla="*/ 0 h 100"/>
                    <a:gd name="T2" fmla="*/ 70 w 82"/>
                    <a:gd name="T3" fmla="*/ 14 h 100"/>
                    <a:gd name="T4" fmla="*/ 60 w 82"/>
                    <a:gd name="T5" fmla="*/ 20 h 100"/>
                    <a:gd name="T6" fmla="*/ 53 w 82"/>
                    <a:gd name="T7" fmla="*/ 6 h 100"/>
                    <a:gd name="T8" fmla="*/ 43 w 82"/>
                    <a:gd name="T9" fmla="*/ 10 h 100"/>
                    <a:gd name="T10" fmla="*/ 28 w 82"/>
                    <a:gd name="T11" fmla="*/ 8 h 100"/>
                    <a:gd name="T12" fmla="*/ 18 w 82"/>
                    <a:gd name="T13" fmla="*/ 24 h 100"/>
                    <a:gd name="T14" fmla="*/ 40 w 82"/>
                    <a:gd name="T15" fmla="*/ 27 h 100"/>
                    <a:gd name="T16" fmla="*/ 43 w 82"/>
                    <a:gd name="T17" fmla="*/ 42 h 100"/>
                    <a:gd name="T18" fmla="*/ 30 w 82"/>
                    <a:gd name="T19" fmla="*/ 48 h 100"/>
                    <a:gd name="T20" fmla="*/ 11 w 82"/>
                    <a:gd name="T21" fmla="*/ 44 h 100"/>
                    <a:gd name="T22" fmla="*/ 2 w 82"/>
                    <a:gd name="T23" fmla="*/ 58 h 100"/>
                    <a:gd name="T24" fmla="*/ 0 w 82"/>
                    <a:gd name="T25" fmla="*/ 77 h 100"/>
                    <a:gd name="T26" fmla="*/ 22 w 82"/>
                    <a:gd name="T27" fmla="*/ 100 h 100"/>
                    <a:gd name="T28" fmla="*/ 22 w 82"/>
                    <a:gd name="T29" fmla="*/ 100 h 100"/>
                    <a:gd name="T30" fmla="*/ 82 w 82"/>
                    <a:gd name="T31" fmla="*/ 30 h 100"/>
                    <a:gd name="T32" fmla="*/ 67 w 82"/>
                    <a:gd name="T33"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100">
                      <a:moveTo>
                        <a:pt x="67" y="0"/>
                      </a:moveTo>
                      <a:cubicBezTo>
                        <a:pt x="70" y="14"/>
                        <a:pt x="70" y="14"/>
                        <a:pt x="70" y="14"/>
                      </a:cubicBezTo>
                      <a:cubicBezTo>
                        <a:pt x="60" y="20"/>
                        <a:pt x="60" y="20"/>
                        <a:pt x="60" y="20"/>
                      </a:cubicBezTo>
                      <a:cubicBezTo>
                        <a:pt x="53" y="6"/>
                        <a:pt x="53" y="6"/>
                        <a:pt x="53" y="6"/>
                      </a:cubicBezTo>
                      <a:cubicBezTo>
                        <a:pt x="43" y="10"/>
                        <a:pt x="43" y="10"/>
                        <a:pt x="43" y="10"/>
                      </a:cubicBezTo>
                      <a:cubicBezTo>
                        <a:pt x="28" y="8"/>
                        <a:pt x="28" y="8"/>
                        <a:pt x="28" y="8"/>
                      </a:cubicBezTo>
                      <a:cubicBezTo>
                        <a:pt x="18" y="24"/>
                        <a:pt x="18" y="24"/>
                        <a:pt x="18" y="24"/>
                      </a:cubicBezTo>
                      <a:cubicBezTo>
                        <a:pt x="18" y="24"/>
                        <a:pt x="39" y="27"/>
                        <a:pt x="40" y="27"/>
                      </a:cubicBezTo>
                      <a:cubicBezTo>
                        <a:pt x="41" y="27"/>
                        <a:pt x="43" y="42"/>
                        <a:pt x="43" y="42"/>
                      </a:cubicBezTo>
                      <a:cubicBezTo>
                        <a:pt x="30" y="48"/>
                        <a:pt x="30" y="48"/>
                        <a:pt x="30" y="48"/>
                      </a:cubicBezTo>
                      <a:cubicBezTo>
                        <a:pt x="11" y="44"/>
                        <a:pt x="11" y="44"/>
                        <a:pt x="11" y="44"/>
                      </a:cubicBezTo>
                      <a:cubicBezTo>
                        <a:pt x="2" y="58"/>
                        <a:pt x="2" y="58"/>
                        <a:pt x="2" y="58"/>
                      </a:cubicBezTo>
                      <a:cubicBezTo>
                        <a:pt x="0" y="77"/>
                        <a:pt x="0" y="77"/>
                        <a:pt x="0" y="77"/>
                      </a:cubicBezTo>
                      <a:cubicBezTo>
                        <a:pt x="22" y="100"/>
                        <a:pt x="22" y="100"/>
                        <a:pt x="22" y="100"/>
                      </a:cubicBezTo>
                      <a:cubicBezTo>
                        <a:pt x="22" y="100"/>
                        <a:pt x="22" y="100"/>
                        <a:pt x="22" y="100"/>
                      </a:cubicBezTo>
                      <a:cubicBezTo>
                        <a:pt x="51" y="86"/>
                        <a:pt x="72" y="60"/>
                        <a:pt x="82" y="30"/>
                      </a:cubicBezTo>
                      <a:cubicBezTo>
                        <a:pt x="78" y="19"/>
                        <a:pt x="74" y="9"/>
                        <a:pt x="67" y="0"/>
                      </a:cubicBezTo>
                      <a:close/>
                    </a:path>
                  </a:pathLst>
                </a:custGeom>
                <a:solidFill>
                  <a:srgbClr val="000000">
                    <a:lumMod val="50000"/>
                    <a:lumOff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03" name="Freeform 73"/>
                <p:cNvSpPr>
                  <a:spLocks/>
                </p:cNvSpPr>
                <p:nvPr/>
              </p:nvSpPr>
              <p:spPr bwMode="auto">
                <a:xfrm>
                  <a:off x="4122738" y="-1204913"/>
                  <a:ext cx="114300" cy="190500"/>
                </a:xfrm>
                <a:custGeom>
                  <a:avLst/>
                  <a:gdLst>
                    <a:gd name="T0" fmla="*/ 36 w 36"/>
                    <a:gd name="T1" fmla="*/ 18 h 60"/>
                    <a:gd name="T2" fmla="*/ 18 w 36"/>
                    <a:gd name="T3" fmla="*/ 60 h 60"/>
                    <a:gd name="T4" fmla="*/ 0 w 36"/>
                    <a:gd name="T5" fmla="*/ 18 h 60"/>
                    <a:gd name="T6" fmla="*/ 18 w 36"/>
                    <a:gd name="T7" fmla="*/ 0 h 60"/>
                    <a:gd name="T8" fmla="*/ 36 w 36"/>
                    <a:gd name="T9" fmla="*/ 18 h 60"/>
                  </a:gdLst>
                  <a:ahLst/>
                  <a:cxnLst>
                    <a:cxn ang="0">
                      <a:pos x="T0" y="T1"/>
                    </a:cxn>
                    <a:cxn ang="0">
                      <a:pos x="T2" y="T3"/>
                    </a:cxn>
                    <a:cxn ang="0">
                      <a:pos x="T4" y="T5"/>
                    </a:cxn>
                    <a:cxn ang="0">
                      <a:pos x="T6" y="T7"/>
                    </a:cxn>
                    <a:cxn ang="0">
                      <a:pos x="T8" y="T9"/>
                    </a:cxn>
                  </a:cxnLst>
                  <a:rect l="0" t="0" r="r" b="b"/>
                  <a:pathLst>
                    <a:path w="36" h="60">
                      <a:moveTo>
                        <a:pt x="36" y="18"/>
                      </a:moveTo>
                      <a:cubicBezTo>
                        <a:pt x="36" y="28"/>
                        <a:pt x="18" y="60"/>
                        <a:pt x="18" y="60"/>
                      </a:cubicBezTo>
                      <a:cubicBezTo>
                        <a:pt x="18" y="60"/>
                        <a:pt x="0" y="28"/>
                        <a:pt x="0" y="18"/>
                      </a:cubicBezTo>
                      <a:cubicBezTo>
                        <a:pt x="0" y="8"/>
                        <a:pt x="8" y="0"/>
                        <a:pt x="18" y="0"/>
                      </a:cubicBezTo>
                      <a:cubicBezTo>
                        <a:pt x="28" y="0"/>
                        <a:pt x="36" y="8"/>
                        <a:pt x="36" y="18"/>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04" name="Oval 74"/>
                <p:cNvSpPr>
                  <a:spLocks noChangeArrowheads="1"/>
                </p:cNvSpPr>
                <p:nvPr/>
              </p:nvSpPr>
              <p:spPr bwMode="auto">
                <a:xfrm>
                  <a:off x="4144963" y="-1179513"/>
                  <a:ext cx="66675" cy="666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05" name="Freeform 75"/>
                <p:cNvSpPr>
                  <a:spLocks noEditPoints="1"/>
                </p:cNvSpPr>
                <p:nvPr/>
              </p:nvSpPr>
              <p:spPr bwMode="auto">
                <a:xfrm>
                  <a:off x="3922713" y="-849313"/>
                  <a:ext cx="438150" cy="142875"/>
                </a:xfrm>
                <a:custGeom>
                  <a:avLst/>
                  <a:gdLst>
                    <a:gd name="T0" fmla="*/ 135 w 138"/>
                    <a:gd name="T1" fmla="*/ 44 h 45"/>
                    <a:gd name="T2" fmla="*/ 134 w 138"/>
                    <a:gd name="T3" fmla="*/ 41 h 45"/>
                    <a:gd name="T4" fmla="*/ 137 w 138"/>
                    <a:gd name="T5" fmla="*/ 42 h 45"/>
                    <a:gd name="T6" fmla="*/ 136 w 138"/>
                    <a:gd name="T7" fmla="*/ 45 h 45"/>
                    <a:gd name="T8" fmla="*/ 127 w 138"/>
                    <a:gd name="T9" fmla="*/ 36 h 45"/>
                    <a:gd name="T10" fmla="*/ 125 w 138"/>
                    <a:gd name="T11" fmla="*/ 33 h 45"/>
                    <a:gd name="T12" fmla="*/ 129 w 138"/>
                    <a:gd name="T13" fmla="*/ 33 h 45"/>
                    <a:gd name="T14" fmla="*/ 128 w 138"/>
                    <a:gd name="T15" fmla="*/ 36 h 45"/>
                    <a:gd name="T16" fmla="*/ 117 w 138"/>
                    <a:gd name="T17" fmla="*/ 28 h 45"/>
                    <a:gd name="T18" fmla="*/ 116 w 138"/>
                    <a:gd name="T19" fmla="*/ 25 h 45"/>
                    <a:gd name="T20" fmla="*/ 119 w 138"/>
                    <a:gd name="T21" fmla="*/ 26 h 45"/>
                    <a:gd name="T22" fmla="*/ 118 w 138"/>
                    <a:gd name="T23" fmla="*/ 28 h 45"/>
                    <a:gd name="T24" fmla="*/ 108 w 138"/>
                    <a:gd name="T25" fmla="*/ 22 h 45"/>
                    <a:gd name="T26" fmla="*/ 106 w 138"/>
                    <a:gd name="T27" fmla="*/ 19 h 45"/>
                    <a:gd name="T28" fmla="*/ 109 w 138"/>
                    <a:gd name="T29" fmla="*/ 19 h 45"/>
                    <a:gd name="T30" fmla="*/ 108 w 138"/>
                    <a:gd name="T31" fmla="*/ 22 h 45"/>
                    <a:gd name="T32" fmla="*/ 97 w 138"/>
                    <a:gd name="T33" fmla="*/ 16 h 45"/>
                    <a:gd name="T34" fmla="*/ 95 w 138"/>
                    <a:gd name="T35" fmla="*/ 13 h 45"/>
                    <a:gd name="T36" fmla="*/ 98 w 138"/>
                    <a:gd name="T37" fmla="*/ 13 h 45"/>
                    <a:gd name="T38" fmla="*/ 98 w 138"/>
                    <a:gd name="T39" fmla="*/ 16 h 45"/>
                    <a:gd name="T40" fmla="*/ 86 w 138"/>
                    <a:gd name="T41" fmla="*/ 11 h 45"/>
                    <a:gd name="T42" fmla="*/ 84 w 138"/>
                    <a:gd name="T43" fmla="*/ 9 h 45"/>
                    <a:gd name="T44" fmla="*/ 87 w 138"/>
                    <a:gd name="T45" fmla="*/ 9 h 45"/>
                    <a:gd name="T46" fmla="*/ 87 w 138"/>
                    <a:gd name="T47" fmla="*/ 11 h 45"/>
                    <a:gd name="T48" fmla="*/ 75 w 138"/>
                    <a:gd name="T49" fmla="*/ 8 h 45"/>
                    <a:gd name="T50" fmla="*/ 72 w 138"/>
                    <a:gd name="T51" fmla="*/ 5 h 45"/>
                    <a:gd name="T52" fmla="*/ 76 w 138"/>
                    <a:gd name="T53" fmla="*/ 5 h 45"/>
                    <a:gd name="T54" fmla="*/ 75 w 138"/>
                    <a:gd name="T55" fmla="*/ 8 h 45"/>
                    <a:gd name="T56" fmla="*/ 1 w 138"/>
                    <a:gd name="T57" fmla="*/ 5 h 45"/>
                    <a:gd name="T58" fmla="*/ 3 w 138"/>
                    <a:gd name="T59" fmla="*/ 3 h 45"/>
                    <a:gd name="T60" fmla="*/ 4 w 138"/>
                    <a:gd name="T61" fmla="*/ 6 h 45"/>
                    <a:gd name="T62" fmla="*/ 2 w 138"/>
                    <a:gd name="T63" fmla="*/ 7 h 45"/>
                    <a:gd name="T64" fmla="*/ 63 w 138"/>
                    <a:gd name="T65" fmla="*/ 5 h 45"/>
                    <a:gd name="T66" fmla="*/ 60 w 138"/>
                    <a:gd name="T67" fmla="*/ 3 h 45"/>
                    <a:gd name="T68" fmla="*/ 64 w 138"/>
                    <a:gd name="T69" fmla="*/ 2 h 45"/>
                    <a:gd name="T70" fmla="*/ 63 w 138"/>
                    <a:gd name="T71" fmla="*/ 5 h 45"/>
                    <a:gd name="T72" fmla="*/ 12 w 138"/>
                    <a:gd name="T73" fmla="*/ 3 h 45"/>
                    <a:gd name="T74" fmla="*/ 15 w 138"/>
                    <a:gd name="T75" fmla="*/ 1 h 45"/>
                    <a:gd name="T76" fmla="*/ 16 w 138"/>
                    <a:gd name="T77" fmla="*/ 4 h 45"/>
                    <a:gd name="T78" fmla="*/ 14 w 138"/>
                    <a:gd name="T79" fmla="*/ 5 h 45"/>
                    <a:gd name="T80" fmla="*/ 51 w 138"/>
                    <a:gd name="T81" fmla="*/ 3 h 45"/>
                    <a:gd name="T82" fmla="*/ 49 w 138"/>
                    <a:gd name="T83" fmla="*/ 2 h 45"/>
                    <a:gd name="T84" fmla="*/ 52 w 138"/>
                    <a:gd name="T85" fmla="*/ 0 h 45"/>
                    <a:gd name="T86" fmla="*/ 52 w 138"/>
                    <a:gd name="T87" fmla="*/ 3 h 45"/>
                    <a:gd name="T88" fmla="*/ 24 w 138"/>
                    <a:gd name="T89" fmla="*/ 2 h 45"/>
                    <a:gd name="T90" fmla="*/ 27 w 138"/>
                    <a:gd name="T91" fmla="*/ 0 h 45"/>
                    <a:gd name="T92" fmla="*/ 28 w 138"/>
                    <a:gd name="T93" fmla="*/ 3 h 45"/>
                    <a:gd name="T94" fmla="*/ 26 w 138"/>
                    <a:gd name="T95" fmla="*/ 3 h 45"/>
                    <a:gd name="T96" fmla="*/ 39 w 138"/>
                    <a:gd name="T97" fmla="*/ 3 h 45"/>
                    <a:gd name="T98" fmla="*/ 36 w 138"/>
                    <a:gd name="T99" fmla="*/ 1 h 45"/>
                    <a:gd name="T100" fmla="*/ 38 w 138"/>
                    <a:gd name="T101" fmla="*/ 0 h 45"/>
                    <a:gd name="T102" fmla="*/ 41 w 138"/>
                    <a:gd name="T103"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8" h="45">
                      <a:moveTo>
                        <a:pt x="136" y="45"/>
                      </a:moveTo>
                      <a:cubicBezTo>
                        <a:pt x="136" y="45"/>
                        <a:pt x="135" y="45"/>
                        <a:pt x="135" y="44"/>
                      </a:cubicBezTo>
                      <a:cubicBezTo>
                        <a:pt x="135" y="44"/>
                        <a:pt x="135" y="44"/>
                        <a:pt x="134" y="43"/>
                      </a:cubicBezTo>
                      <a:cubicBezTo>
                        <a:pt x="134" y="42"/>
                        <a:pt x="134" y="41"/>
                        <a:pt x="134" y="41"/>
                      </a:cubicBezTo>
                      <a:cubicBezTo>
                        <a:pt x="135" y="40"/>
                        <a:pt x="136" y="40"/>
                        <a:pt x="136" y="41"/>
                      </a:cubicBezTo>
                      <a:cubicBezTo>
                        <a:pt x="137" y="42"/>
                        <a:pt x="137" y="42"/>
                        <a:pt x="137" y="42"/>
                      </a:cubicBezTo>
                      <a:cubicBezTo>
                        <a:pt x="138" y="43"/>
                        <a:pt x="138" y="44"/>
                        <a:pt x="137" y="44"/>
                      </a:cubicBezTo>
                      <a:cubicBezTo>
                        <a:pt x="136" y="45"/>
                        <a:pt x="136" y="45"/>
                        <a:pt x="136" y="45"/>
                      </a:cubicBezTo>
                      <a:moveTo>
                        <a:pt x="128" y="36"/>
                      </a:moveTo>
                      <a:cubicBezTo>
                        <a:pt x="127" y="36"/>
                        <a:pt x="127" y="36"/>
                        <a:pt x="127" y="36"/>
                      </a:cubicBezTo>
                      <a:cubicBezTo>
                        <a:pt x="126" y="35"/>
                        <a:pt x="126" y="35"/>
                        <a:pt x="126" y="35"/>
                      </a:cubicBezTo>
                      <a:cubicBezTo>
                        <a:pt x="125" y="34"/>
                        <a:pt x="125" y="33"/>
                        <a:pt x="125" y="33"/>
                      </a:cubicBezTo>
                      <a:cubicBezTo>
                        <a:pt x="126" y="32"/>
                        <a:pt x="127" y="32"/>
                        <a:pt x="128" y="32"/>
                      </a:cubicBezTo>
                      <a:cubicBezTo>
                        <a:pt x="128" y="33"/>
                        <a:pt x="128" y="33"/>
                        <a:pt x="129" y="33"/>
                      </a:cubicBezTo>
                      <a:cubicBezTo>
                        <a:pt x="129" y="34"/>
                        <a:pt x="129" y="35"/>
                        <a:pt x="129" y="36"/>
                      </a:cubicBezTo>
                      <a:cubicBezTo>
                        <a:pt x="129" y="36"/>
                        <a:pt x="128" y="36"/>
                        <a:pt x="128" y="36"/>
                      </a:cubicBezTo>
                      <a:moveTo>
                        <a:pt x="118" y="28"/>
                      </a:moveTo>
                      <a:cubicBezTo>
                        <a:pt x="117" y="28"/>
                        <a:pt x="117" y="28"/>
                        <a:pt x="117" y="28"/>
                      </a:cubicBezTo>
                      <a:cubicBezTo>
                        <a:pt x="117" y="28"/>
                        <a:pt x="117" y="28"/>
                        <a:pt x="116" y="27"/>
                      </a:cubicBezTo>
                      <a:cubicBezTo>
                        <a:pt x="116" y="27"/>
                        <a:pt x="115" y="26"/>
                        <a:pt x="116" y="25"/>
                      </a:cubicBezTo>
                      <a:cubicBezTo>
                        <a:pt x="116" y="25"/>
                        <a:pt x="117" y="24"/>
                        <a:pt x="118" y="25"/>
                      </a:cubicBezTo>
                      <a:cubicBezTo>
                        <a:pt x="118" y="25"/>
                        <a:pt x="119" y="25"/>
                        <a:pt x="119" y="26"/>
                      </a:cubicBezTo>
                      <a:cubicBezTo>
                        <a:pt x="120" y="26"/>
                        <a:pt x="120" y="27"/>
                        <a:pt x="120" y="28"/>
                      </a:cubicBezTo>
                      <a:cubicBezTo>
                        <a:pt x="119" y="28"/>
                        <a:pt x="119" y="28"/>
                        <a:pt x="118" y="28"/>
                      </a:cubicBezTo>
                      <a:moveTo>
                        <a:pt x="108" y="22"/>
                      </a:moveTo>
                      <a:cubicBezTo>
                        <a:pt x="108" y="22"/>
                        <a:pt x="108" y="22"/>
                        <a:pt x="108" y="22"/>
                      </a:cubicBezTo>
                      <a:cubicBezTo>
                        <a:pt x="107" y="21"/>
                        <a:pt x="107" y="21"/>
                        <a:pt x="106" y="21"/>
                      </a:cubicBezTo>
                      <a:cubicBezTo>
                        <a:pt x="106" y="20"/>
                        <a:pt x="105" y="20"/>
                        <a:pt x="106" y="19"/>
                      </a:cubicBezTo>
                      <a:cubicBezTo>
                        <a:pt x="106" y="18"/>
                        <a:pt x="107" y="18"/>
                        <a:pt x="108" y="18"/>
                      </a:cubicBezTo>
                      <a:cubicBezTo>
                        <a:pt x="108" y="19"/>
                        <a:pt x="109" y="19"/>
                        <a:pt x="109" y="19"/>
                      </a:cubicBezTo>
                      <a:cubicBezTo>
                        <a:pt x="110" y="19"/>
                        <a:pt x="110" y="20"/>
                        <a:pt x="110" y="21"/>
                      </a:cubicBezTo>
                      <a:cubicBezTo>
                        <a:pt x="109" y="22"/>
                        <a:pt x="109" y="22"/>
                        <a:pt x="108" y="22"/>
                      </a:cubicBezTo>
                      <a:moveTo>
                        <a:pt x="98" y="16"/>
                      </a:moveTo>
                      <a:cubicBezTo>
                        <a:pt x="97" y="16"/>
                        <a:pt x="97" y="16"/>
                        <a:pt x="97" y="16"/>
                      </a:cubicBezTo>
                      <a:cubicBezTo>
                        <a:pt x="97" y="16"/>
                        <a:pt x="96" y="16"/>
                        <a:pt x="96" y="15"/>
                      </a:cubicBezTo>
                      <a:cubicBezTo>
                        <a:pt x="95" y="15"/>
                        <a:pt x="95" y="14"/>
                        <a:pt x="95" y="13"/>
                      </a:cubicBezTo>
                      <a:cubicBezTo>
                        <a:pt x="95" y="13"/>
                        <a:pt x="96" y="12"/>
                        <a:pt x="97" y="13"/>
                      </a:cubicBezTo>
                      <a:cubicBezTo>
                        <a:pt x="97" y="13"/>
                        <a:pt x="98" y="13"/>
                        <a:pt x="98" y="13"/>
                      </a:cubicBezTo>
                      <a:cubicBezTo>
                        <a:pt x="99" y="14"/>
                        <a:pt x="99" y="15"/>
                        <a:pt x="99" y="15"/>
                      </a:cubicBezTo>
                      <a:cubicBezTo>
                        <a:pt x="99" y="16"/>
                        <a:pt x="98" y="16"/>
                        <a:pt x="98" y="16"/>
                      </a:cubicBezTo>
                      <a:moveTo>
                        <a:pt x="87" y="11"/>
                      </a:moveTo>
                      <a:cubicBezTo>
                        <a:pt x="86" y="11"/>
                        <a:pt x="86" y="11"/>
                        <a:pt x="86" y="11"/>
                      </a:cubicBezTo>
                      <a:cubicBezTo>
                        <a:pt x="86" y="11"/>
                        <a:pt x="85" y="11"/>
                        <a:pt x="85" y="11"/>
                      </a:cubicBezTo>
                      <a:cubicBezTo>
                        <a:pt x="84" y="11"/>
                        <a:pt x="84" y="10"/>
                        <a:pt x="84" y="9"/>
                      </a:cubicBezTo>
                      <a:cubicBezTo>
                        <a:pt x="84" y="8"/>
                        <a:pt x="85" y="8"/>
                        <a:pt x="86" y="8"/>
                      </a:cubicBezTo>
                      <a:cubicBezTo>
                        <a:pt x="86" y="8"/>
                        <a:pt x="87" y="8"/>
                        <a:pt x="87" y="9"/>
                      </a:cubicBezTo>
                      <a:cubicBezTo>
                        <a:pt x="88" y="9"/>
                        <a:pt x="88" y="10"/>
                        <a:pt x="88" y="10"/>
                      </a:cubicBezTo>
                      <a:cubicBezTo>
                        <a:pt x="88" y="11"/>
                        <a:pt x="87" y="11"/>
                        <a:pt x="87" y="11"/>
                      </a:cubicBezTo>
                      <a:moveTo>
                        <a:pt x="75" y="8"/>
                      </a:moveTo>
                      <a:cubicBezTo>
                        <a:pt x="75" y="8"/>
                        <a:pt x="75" y="8"/>
                        <a:pt x="75" y="8"/>
                      </a:cubicBezTo>
                      <a:cubicBezTo>
                        <a:pt x="74" y="8"/>
                        <a:pt x="74" y="7"/>
                        <a:pt x="73" y="7"/>
                      </a:cubicBezTo>
                      <a:cubicBezTo>
                        <a:pt x="73" y="7"/>
                        <a:pt x="72" y="6"/>
                        <a:pt x="72" y="5"/>
                      </a:cubicBezTo>
                      <a:cubicBezTo>
                        <a:pt x="72" y="5"/>
                        <a:pt x="73" y="4"/>
                        <a:pt x="74" y="4"/>
                      </a:cubicBezTo>
                      <a:cubicBezTo>
                        <a:pt x="75" y="5"/>
                        <a:pt x="75" y="5"/>
                        <a:pt x="76" y="5"/>
                      </a:cubicBezTo>
                      <a:cubicBezTo>
                        <a:pt x="76" y="5"/>
                        <a:pt x="77" y="6"/>
                        <a:pt x="77" y="7"/>
                      </a:cubicBezTo>
                      <a:cubicBezTo>
                        <a:pt x="76" y="7"/>
                        <a:pt x="76" y="8"/>
                        <a:pt x="75" y="8"/>
                      </a:cubicBezTo>
                      <a:moveTo>
                        <a:pt x="2" y="7"/>
                      </a:moveTo>
                      <a:cubicBezTo>
                        <a:pt x="1" y="7"/>
                        <a:pt x="1" y="6"/>
                        <a:pt x="1" y="5"/>
                      </a:cubicBezTo>
                      <a:cubicBezTo>
                        <a:pt x="0" y="5"/>
                        <a:pt x="1" y="4"/>
                        <a:pt x="2" y="4"/>
                      </a:cubicBezTo>
                      <a:cubicBezTo>
                        <a:pt x="2" y="4"/>
                        <a:pt x="3" y="3"/>
                        <a:pt x="3" y="3"/>
                      </a:cubicBezTo>
                      <a:cubicBezTo>
                        <a:pt x="4" y="3"/>
                        <a:pt x="5" y="4"/>
                        <a:pt x="5" y="5"/>
                      </a:cubicBezTo>
                      <a:cubicBezTo>
                        <a:pt x="5" y="5"/>
                        <a:pt x="5" y="6"/>
                        <a:pt x="4" y="6"/>
                      </a:cubicBezTo>
                      <a:cubicBezTo>
                        <a:pt x="3" y="6"/>
                        <a:pt x="3" y="7"/>
                        <a:pt x="2" y="7"/>
                      </a:cubicBezTo>
                      <a:cubicBezTo>
                        <a:pt x="2" y="7"/>
                        <a:pt x="2" y="7"/>
                        <a:pt x="2" y="7"/>
                      </a:cubicBezTo>
                      <a:moveTo>
                        <a:pt x="63" y="5"/>
                      </a:moveTo>
                      <a:cubicBezTo>
                        <a:pt x="63" y="5"/>
                        <a:pt x="63" y="5"/>
                        <a:pt x="63" y="5"/>
                      </a:cubicBezTo>
                      <a:cubicBezTo>
                        <a:pt x="63" y="5"/>
                        <a:pt x="62" y="5"/>
                        <a:pt x="62" y="5"/>
                      </a:cubicBezTo>
                      <a:cubicBezTo>
                        <a:pt x="61" y="5"/>
                        <a:pt x="60" y="4"/>
                        <a:pt x="60" y="3"/>
                      </a:cubicBezTo>
                      <a:cubicBezTo>
                        <a:pt x="61" y="2"/>
                        <a:pt x="61" y="2"/>
                        <a:pt x="62" y="2"/>
                      </a:cubicBezTo>
                      <a:cubicBezTo>
                        <a:pt x="63" y="2"/>
                        <a:pt x="63" y="2"/>
                        <a:pt x="64" y="2"/>
                      </a:cubicBezTo>
                      <a:cubicBezTo>
                        <a:pt x="65" y="2"/>
                        <a:pt x="65" y="3"/>
                        <a:pt x="65" y="4"/>
                      </a:cubicBezTo>
                      <a:cubicBezTo>
                        <a:pt x="65" y="5"/>
                        <a:pt x="64" y="5"/>
                        <a:pt x="63" y="5"/>
                      </a:cubicBezTo>
                      <a:moveTo>
                        <a:pt x="14" y="5"/>
                      </a:moveTo>
                      <a:cubicBezTo>
                        <a:pt x="13" y="5"/>
                        <a:pt x="13" y="4"/>
                        <a:pt x="12" y="3"/>
                      </a:cubicBezTo>
                      <a:cubicBezTo>
                        <a:pt x="12" y="2"/>
                        <a:pt x="13" y="2"/>
                        <a:pt x="14" y="2"/>
                      </a:cubicBezTo>
                      <a:cubicBezTo>
                        <a:pt x="14" y="1"/>
                        <a:pt x="15" y="1"/>
                        <a:pt x="15" y="1"/>
                      </a:cubicBezTo>
                      <a:cubicBezTo>
                        <a:pt x="16" y="1"/>
                        <a:pt x="17" y="2"/>
                        <a:pt x="17" y="3"/>
                      </a:cubicBezTo>
                      <a:cubicBezTo>
                        <a:pt x="17" y="3"/>
                        <a:pt x="17" y="4"/>
                        <a:pt x="16" y="4"/>
                      </a:cubicBezTo>
                      <a:cubicBezTo>
                        <a:pt x="15" y="4"/>
                        <a:pt x="15" y="4"/>
                        <a:pt x="14" y="5"/>
                      </a:cubicBezTo>
                      <a:cubicBezTo>
                        <a:pt x="14" y="5"/>
                        <a:pt x="14" y="5"/>
                        <a:pt x="14" y="5"/>
                      </a:cubicBezTo>
                      <a:moveTo>
                        <a:pt x="52" y="3"/>
                      </a:moveTo>
                      <a:cubicBezTo>
                        <a:pt x="51" y="3"/>
                        <a:pt x="51" y="3"/>
                        <a:pt x="51" y="3"/>
                      </a:cubicBezTo>
                      <a:cubicBezTo>
                        <a:pt x="51" y="3"/>
                        <a:pt x="50" y="3"/>
                        <a:pt x="50" y="3"/>
                      </a:cubicBezTo>
                      <a:cubicBezTo>
                        <a:pt x="49" y="3"/>
                        <a:pt x="48" y="3"/>
                        <a:pt x="49" y="2"/>
                      </a:cubicBezTo>
                      <a:cubicBezTo>
                        <a:pt x="49" y="1"/>
                        <a:pt x="49" y="0"/>
                        <a:pt x="50" y="0"/>
                      </a:cubicBezTo>
                      <a:cubicBezTo>
                        <a:pt x="51" y="0"/>
                        <a:pt x="51" y="0"/>
                        <a:pt x="52" y="0"/>
                      </a:cubicBezTo>
                      <a:cubicBezTo>
                        <a:pt x="52" y="1"/>
                        <a:pt x="53" y="1"/>
                        <a:pt x="53" y="2"/>
                      </a:cubicBezTo>
                      <a:cubicBezTo>
                        <a:pt x="53" y="3"/>
                        <a:pt x="52" y="3"/>
                        <a:pt x="52" y="3"/>
                      </a:cubicBezTo>
                      <a:moveTo>
                        <a:pt x="26" y="3"/>
                      </a:moveTo>
                      <a:cubicBezTo>
                        <a:pt x="25" y="3"/>
                        <a:pt x="25" y="3"/>
                        <a:pt x="24" y="2"/>
                      </a:cubicBezTo>
                      <a:cubicBezTo>
                        <a:pt x="24" y="1"/>
                        <a:pt x="25" y="0"/>
                        <a:pt x="26" y="0"/>
                      </a:cubicBezTo>
                      <a:cubicBezTo>
                        <a:pt x="26" y="0"/>
                        <a:pt x="27" y="0"/>
                        <a:pt x="27" y="0"/>
                      </a:cubicBezTo>
                      <a:cubicBezTo>
                        <a:pt x="28" y="0"/>
                        <a:pt x="29" y="1"/>
                        <a:pt x="29" y="2"/>
                      </a:cubicBezTo>
                      <a:cubicBezTo>
                        <a:pt x="29" y="2"/>
                        <a:pt x="28" y="3"/>
                        <a:pt x="28" y="3"/>
                      </a:cubicBezTo>
                      <a:cubicBezTo>
                        <a:pt x="27" y="3"/>
                        <a:pt x="27" y="3"/>
                        <a:pt x="26" y="3"/>
                      </a:cubicBezTo>
                      <a:cubicBezTo>
                        <a:pt x="26" y="3"/>
                        <a:pt x="26" y="3"/>
                        <a:pt x="26" y="3"/>
                      </a:cubicBezTo>
                      <a:moveTo>
                        <a:pt x="39" y="3"/>
                      </a:moveTo>
                      <a:cubicBezTo>
                        <a:pt x="39" y="3"/>
                        <a:pt x="39" y="3"/>
                        <a:pt x="39" y="3"/>
                      </a:cubicBezTo>
                      <a:cubicBezTo>
                        <a:pt x="39" y="3"/>
                        <a:pt x="38" y="3"/>
                        <a:pt x="38" y="3"/>
                      </a:cubicBezTo>
                      <a:cubicBezTo>
                        <a:pt x="37" y="3"/>
                        <a:pt x="36" y="2"/>
                        <a:pt x="36" y="1"/>
                      </a:cubicBezTo>
                      <a:cubicBezTo>
                        <a:pt x="36" y="0"/>
                        <a:pt x="37" y="0"/>
                        <a:pt x="38" y="0"/>
                      </a:cubicBezTo>
                      <a:cubicBezTo>
                        <a:pt x="38" y="0"/>
                        <a:pt x="38" y="0"/>
                        <a:pt x="38" y="0"/>
                      </a:cubicBezTo>
                      <a:cubicBezTo>
                        <a:pt x="39" y="0"/>
                        <a:pt x="39" y="0"/>
                        <a:pt x="40" y="0"/>
                      </a:cubicBezTo>
                      <a:cubicBezTo>
                        <a:pt x="40" y="0"/>
                        <a:pt x="41" y="1"/>
                        <a:pt x="41" y="1"/>
                      </a:cubicBezTo>
                      <a:cubicBezTo>
                        <a:pt x="41" y="2"/>
                        <a:pt x="40" y="3"/>
                        <a:pt x="39"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06" name="Freeform 76"/>
                <p:cNvSpPr>
                  <a:spLocks noEditPoints="1"/>
                </p:cNvSpPr>
                <p:nvPr/>
              </p:nvSpPr>
              <p:spPr bwMode="auto">
                <a:xfrm>
                  <a:off x="3919538" y="-1014413"/>
                  <a:ext cx="257175" cy="168275"/>
                </a:xfrm>
                <a:custGeom>
                  <a:avLst/>
                  <a:gdLst>
                    <a:gd name="T0" fmla="*/ 1 w 81"/>
                    <a:gd name="T1" fmla="*/ 53 h 53"/>
                    <a:gd name="T2" fmla="*/ 1 w 81"/>
                    <a:gd name="T3" fmla="*/ 50 h 53"/>
                    <a:gd name="T4" fmla="*/ 4 w 81"/>
                    <a:gd name="T5" fmla="*/ 52 h 53"/>
                    <a:gd name="T6" fmla="*/ 2 w 81"/>
                    <a:gd name="T7" fmla="*/ 53 h 53"/>
                    <a:gd name="T8" fmla="*/ 7 w 81"/>
                    <a:gd name="T9" fmla="*/ 43 h 53"/>
                    <a:gd name="T10" fmla="*/ 8 w 81"/>
                    <a:gd name="T11" fmla="*/ 40 h 53"/>
                    <a:gd name="T12" fmla="*/ 10 w 81"/>
                    <a:gd name="T13" fmla="*/ 42 h 53"/>
                    <a:gd name="T14" fmla="*/ 8 w 81"/>
                    <a:gd name="T15" fmla="*/ 44 h 53"/>
                    <a:gd name="T16" fmla="*/ 14 w 81"/>
                    <a:gd name="T17" fmla="*/ 34 h 53"/>
                    <a:gd name="T18" fmla="*/ 15 w 81"/>
                    <a:gd name="T19" fmla="*/ 31 h 53"/>
                    <a:gd name="T20" fmla="*/ 17 w 81"/>
                    <a:gd name="T21" fmla="*/ 33 h 53"/>
                    <a:gd name="T22" fmla="*/ 15 w 81"/>
                    <a:gd name="T23" fmla="*/ 34 h 53"/>
                    <a:gd name="T24" fmla="*/ 23 w 81"/>
                    <a:gd name="T25" fmla="*/ 25 h 53"/>
                    <a:gd name="T26" fmla="*/ 24 w 81"/>
                    <a:gd name="T27" fmla="*/ 22 h 53"/>
                    <a:gd name="T28" fmla="*/ 26 w 81"/>
                    <a:gd name="T29" fmla="*/ 24 h 53"/>
                    <a:gd name="T30" fmla="*/ 24 w 81"/>
                    <a:gd name="T31" fmla="*/ 26 h 53"/>
                    <a:gd name="T32" fmla="*/ 32 w 81"/>
                    <a:gd name="T33" fmla="*/ 17 h 53"/>
                    <a:gd name="T34" fmla="*/ 34 w 81"/>
                    <a:gd name="T35" fmla="*/ 15 h 53"/>
                    <a:gd name="T36" fmla="*/ 35 w 81"/>
                    <a:gd name="T37" fmla="*/ 17 h 53"/>
                    <a:gd name="T38" fmla="*/ 33 w 81"/>
                    <a:gd name="T39" fmla="*/ 18 h 53"/>
                    <a:gd name="T40" fmla="*/ 42 w 81"/>
                    <a:gd name="T41" fmla="*/ 11 h 53"/>
                    <a:gd name="T42" fmla="*/ 44 w 81"/>
                    <a:gd name="T43" fmla="*/ 9 h 53"/>
                    <a:gd name="T44" fmla="*/ 46 w 81"/>
                    <a:gd name="T45" fmla="*/ 11 h 53"/>
                    <a:gd name="T46" fmla="*/ 44 w 81"/>
                    <a:gd name="T47" fmla="*/ 12 h 53"/>
                    <a:gd name="T48" fmla="*/ 53 w 81"/>
                    <a:gd name="T49" fmla="*/ 6 h 53"/>
                    <a:gd name="T50" fmla="*/ 56 w 81"/>
                    <a:gd name="T51" fmla="*/ 4 h 53"/>
                    <a:gd name="T52" fmla="*/ 56 w 81"/>
                    <a:gd name="T53" fmla="*/ 7 h 53"/>
                    <a:gd name="T54" fmla="*/ 55 w 81"/>
                    <a:gd name="T55" fmla="*/ 7 h 53"/>
                    <a:gd name="T56" fmla="*/ 65 w 81"/>
                    <a:gd name="T57" fmla="*/ 3 h 53"/>
                    <a:gd name="T58" fmla="*/ 67 w 81"/>
                    <a:gd name="T59" fmla="*/ 1 h 53"/>
                    <a:gd name="T60" fmla="*/ 68 w 81"/>
                    <a:gd name="T61" fmla="*/ 4 h 53"/>
                    <a:gd name="T62" fmla="*/ 66 w 81"/>
                    <a:gd name="T63" fmla="*/ 4 h 53"/>
                    <a:gd name="T64" fmla="*/ 80 w 81"/>
                    <a:gd name="T65" fmla="*/ 3 h 53"/>
                    <a:gd name="T66" fmla="*/ 78 w 81"/>
                    <a:gd name="T67" fmla="*/ 3 h 53"/>
                    <a:gd name="T68" fmla="*/ 77 w 81"/>
                    <a:gd name="T69" fmla="*/ 2 h 53"/>
                    <a:gd name="T70" fmla="*/ 78 w 81"/>
                    <a:gd name="T71" fmla="*/ 0 h 53"/>
                    <a:gd name="T72" fmla="*/ 81 w 81"/>
                    <a:gd name="T73" fmla="*/ 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 h="53">
                      <a:moveTo>
                        <a:pt x="2" y="53"/>
                      </a:moveTo>
                      <a:cubicBezTo>
                        <a:pt x="1" y="53"/>
                        <a:pt x="1" y="53"/>
                        <a:pt x="1" y="53"/>
                      </a:cubicBezTo>
                      <a:cubicBezTo>
                        <a:pt x="1" y="52"/>
                        <a:pt x="0" y="51"/>
                        <a:pt x="1" y="51"/>
                      </a:cubicBezTo>
                      <a:cubicBezTo>
                        <a:pt x="1" y="50"/>
                        <a:pt x="1" y="50"/>
                        <a:pt x="1" y="50"/>
                      </a:cubicBezTo>
                      <a:cubicBezTo>
                        <a:pt x="1" y="50"/>
                        <a:pt x="2" y="49"/>
                        <a:pt x="3" y="50"/>
                      </a:cubicBezTo>
                      <a:cubicBezTo>
                        <a:pt x="4" y="50"/>
                        <a:pt x="4" y="51"/>
                        <a:pt x="4" y="52"/>
                      </a:cubicBezTo>
                      <a:cubicBezTo>
                        <a:pt x="3" y="52"/>
                        <a:pt x="3" y="52"/>
                        <a:pt x="3" y="52"/>
                      </a:cubicBezTo>
                      <a:cubicBezTo>
                        <a:pt x="3" y="53"/>
                        <a:pt x="3" y="53"/>
                        <a:pt x="2" y="53"/>
                      </a:cubicBezTo>
                      <a:moveTo>
                        <a:pt x="8" y="44"/>
                      </a:moveTo>
                      <a:cubicBezTo>
                        <a:pt x="7" y="43"/>
                        <a:pt x="7" y="43"/>
                        <a:pt x="7" y="43"/>
                      </a:cubicBezTo>
                      <a:cubicBezTo>
                        <a:pt x="6" y="43"/>
                        <a:pt x="6" y="42"/>
                        <a:pt x="7" y="41"/>
                      </a:cubicBezTo>
                      <a:cubicBezTo>
                        <a:pt x="7" y="41"/>
                        <a:pt x="7" y="40"/>
                        <a:pt x="8" y="40"/>
                      </a:cubicBezTo>
                      <a:cubicBezTo>
                        <a:pt x="8" y="39"/>
                        <a:pt x="9" y="39"/>
                        <a:pt x="10" y="40"/>
                      </a:cubicBezTo>
                      <a:cubicBezTo>
                        <a:pt x="10" y="40"/>
                        <a:pt x="10" y="41"/>
                        <a:pt x="10" y="42"/>
                      </a:cubicBezTo>
                      <a:cubicBezTo>
                        <a:pt x="10" y="42"/>
                        <a:pt x="9" y="43"/>
                        <a:pt x="9" y="43"/>
                      </a:cubicBezTo>
                      <a:cubicBezTo>
                        <a:pt x="9" y="43"/>
                        <a:pt x="8" y="44"/>
                        <a:pt x="8" y="44"/>
                      </a:cubicBezTo>
                      <a:moveTo>
                        <a:pt x="15" y="34"/>
                      </a:moveTo>
                      <a:cubicBezTo>
                        <a:pt x="14" y="34"/>
                        <a:pt x="14" y="34"/>
                        <a:pt x="14" y="34"/>
                      </a:cubicBezTo>
                      <a:cubicBezTo>
                        <a:pt x="14" y="33"/>
                        <a:pt x="14" y="32"/>
                        <a:pt x="14" y="32"/>
                      </a:cubicBezTo>
                      <a:cubicBezTo>
                        <a:pt x="14" y="31"/>
                        <a:pt x="15" y="31"/>
                        <a:pt x="15" y="31"/>
                      </a:cubicBezTo>
                      <a:cubicBezTo>
                        <a:pt x="16" y="30"/>
                        <a:pt x="17" y="30"/>
                        <a:pt x="17" y="30"/>
                      </a:cubicBezTo>
                      <a:cubicBezTo>
                        <a:pt x="18" y="31"/>
                        <a:pt x="18" y="32"/>
                        <a:pt x="17" y="33"/>
                      </a:cubicBezTo>
                      <a:cubicBezTo>
                        <a:pt x="17" y="33"/>
                        <a:pt x="17" y="33"/>
                        <a:pt x="16" y="34"/>
                      </a:cubicBezTo>
                      <a:cubicBezTo>
                        <a:pt x="16" y="34"/>
                        <a:pt x="16" y="34"/>
                        <a:pt x="15" y="34"/>
                      </a:cubicBezTo>
                      <a:moveTo>
                        <a:pt x="24" y="26"/>
                      </a:moveTo>
                      <a:cubicBezTo>
                        <a:pt x="23" y="26"/>
                        <a:pt x="23" y="25"/>
                        <a:pt x="23" y="25"/>
                      </a:cubicBezTo>
                      <a:cubicBezTo>
                        <a:pt x="22" y="24"/>
                        <a:pt x="22" y="24"/>
                        <a:pt x="23" y="23"/>
                      </a:cubicBezTo>
                      <a:cubicBezTo>
                        <a:pt x="23" y="23"/>
                        <a:pt x="23" y="22"/>
                        <a:pt x="24" y="22"/>
                      </a:cubicBezTo>
                      <a:cubicBezTo>
                        <a:pt x="24" y="21"/>
                        <a:pt x="25" y="21"/>
                        <a:pt x="26" y="22"/>
                      </a:cubicBezTo>
                      <a:cubicBezTo>
                        <a:pt x="27" y="23"/>
                        <a:pt x="26" y="24"/>
                        <a:pt x="26" y="24"/>
                      </a:cubicBezTo>
                      <a:cubicBezTo>
                        <a:pt x="25" y="25"/>
                        <a:pt x="25" y="25"/>
                        <a:pt x="25" y="25"/>
                      </a:cubicBezTo>
                      <a:cubicBezTo>
                        <a:pt x="24" y="26"/>
                        <a:pt x="24" y="26"/>
                        <a:pt x="24" y="26"/>
                      </a:cubicBezTo>
                      <a:moveTo>
                        <a:pt x="33" y="18"/>
                      </a:moveTo>
                      <a:cubicBezTo>
                        <a:pt x="33" y="18"/>
                        <a:pt x="32" y="18"/>
                        <a:pt x="32" y="17"/>
                      </a:cubicBezTo>
                      <a:cubicBezTo>
                        <a:pt x="31" y="17"/>
                        <a:pt x="32" y="16"/>
                        <a:pt x="32" y="15"/>
                      </a:cubicBezTo>
                      <a:cubicBezTo>
                        <a:pt x="33" y="15"/>
                        <a:pt x="33" y="15"/>
                        <a:pt x="34" y="15"/>
                      </a:cubicBezTo>
                      <a:cubicBezTo>
                        <a:pt x="34" y="14"/>
                        <a:pt x="35" y="14"/>
                        <a:pt x="36" y="15"/>
                      </a:cubicBezTo>
                      <a:cubicBezTo>
                        <a:pt x="36" y="16"/>
                        <a:pt x="36" y="17"/>
                        <a:pt x="35" y="17"/>
                      </a:cubicBezTo>
                      <a:cubicBezTo>
                        <a:pt x="35" y="17"/>
                        <a:pt x="34" y="18"/>
                        <a:pt x="34" y="18"/>
                      </a:cubicBezTo>
                      <a:cubicBezTo>
                        <a:pt x="33" y="18"/>
                        <a:pt x="33" y="18"/>
                        <a:pt x="33" y="18"/>
                      </a:cubicBezTo>
                      <a:moveTo>
                        <a:pt x="44" y="12"/>
                      </a:moveTo>
                      <a:cubicBezTo>
                        <a:pt x="43" y="12"/>
                        <a:pt x="42" y="12"/>
                        <a:pt x="42" y="11"/>
                      </a:cubicBezTo>
                      <a:cubicBezTo>
                        <a:pt x="42" y="10"/>
                        <a:pt x="42" y="10"/>
                        <a:pt x="43" y="9"/>
                      </a:cubicBezTo>
                      <a:cubicBezTo>
                        <a:pt x="43" y="9"/>
                        <a:pt x="44" y="9"/>
                        <a:pt x="44" y="9"/>
                      </a:cubicBezTo>
                      <a:cubicBezTo>
                        <a:pt x="45" y="8"/>
                        <a:pt x="46" y="8"/>
                        <a:pt x="46" y="9"/>
                      </a:cubicBezTo>
                      <a:cubicBezTo>
                        <a:pt x="47" y="10"/>
                        <a:pt x="46" y="11"/>
                        <a:pt x="46" y="11"/>
                      </a:cubicBezTo>
                      <a:cubicBezTo>
                        <a:pt x="45" y="11"/>
                        <a:pt x="45" y="12"/>
                        <a:pt x="44" y="12"/>
                      </a:cubicBezTo>
                      <a:cubicBezTo>
                        <a:pt x="44" y="12"/>
                        <a:pt x="44" y="12"/>
                        <a:pt x="44" y="12"/>
                      </a:cubicBezTo>
                      <a:moveTo>
                        <a:pt x="55" y="7"/>
                      </a:moveTo>
                      <a:cubicBezTo>
                        <a:pt x="54" y="7"/>
                        <a:pt x="53" y="7"/>
                        <a:pt x="53" y="6"/>
                      </a:cubicBezTo>
                      <a:cubicBezTo>
                        <a:pt x="53" y="6"/>
                        <a:pt x="53" y="5"/>
                        <a:pt x="54" y="4"/>
                      </a:cubicBezTo>
                      <a:cubicBezTo>
                        <a:pt x="55" y="4"/>
                        <a:pt x="55" y="4"/>
                        <a:pt x="56" y="4"/>
                      </a:cubicBezTo>
                      <a:cubicBezTo>
                        <a:pt x="56" y="4"/>
                        <a:pt x="57" y="4"/>
                        <a:pt x="57" y="5"/>
                      </a:cubicBezTo>
                      <a:cubicBezTo>
                        <a:pt x="58" y="6"/>
                        <a:pt x="57" y="7"/>
                        <a:pt x="56" y="7"/>
                      </a:cubicBezTo>
                      <a:cubicBezTo>
                        <a:pt x="56" y="7"/>
                        <a:pt x="56" y="7"/>
                        <a:pt x="55" y="7"/>
                      </a:cubicBezTo>
                      <a:cubicBezTo>
                        <a:pt x="55" y="7"/>
                        <a:pt x="55" y="7"/>
                        <a:pt x="55" y="7"/>
                      </a:cubicBezTo>
                      <a:moveTo>
                        <a:pt x="66" y="4"/>
                      </a:moveTo>
                      <a:cubicBezTo>
                        <a:pt x="66" y="4"/>
                        <a:pt x="65" y="4"/>
                        <a:pt x="65" y="3"/>
                      </a:cubicBezTo>
                      <a:cubicBezTo>
                        <a:pt x="65" y="2"/>
                        <a:pt x="65" y="1"/>
                        <a:pt x="66" y="1"/>
                      </a:cubicBezTo>
                      <a:cubicBezTo>
                        <a:pt x="66" y="1"/>
                        <a:pt x="67" y="1"/>
                        <a:pt x="67" y="1"/>
                      </a:cubicBezTo>
                      <a:cubicBezTo>
                        <a:pt x="68" y="1"/>
                        <a:pt x="69" y="2"/>
                        <a:pt x="69" y="2"/>
                      </a:cubicBezTo>
                      <a:cubicBezTo>
                        <a:pt x="69" y="3"/>
                        <a:pt x="69" y="4"/>
                        <a:pt x="68" y="4"/>
                      </a:cubicBezTo>
                      <a:cubicBezTo>
                        <a:pt x="68" y="4"/>
                        <a:pt x="67" y="4"/>
                        <a:pt x="67" y="4"/>
                      </a:cubicBezTo>
                      <a:cubicBezTo>
                        <a:pt x="66" y="4"/>
                        <a:pt x="66" y="4"/>
                        <a:pt x="66" y="4"/>
                      </a:cubicBezTo>
                      <a:moveTo>
                        <a:pt x="80" y="3"/>
                      </a:moveTo>
                      <a:cubicBezTo>
                        <a:pt x="80" y="3"/>
                        <a:pt x="80" y="3"/>
                        <a:pt x="80" y="3"/>
                      </a:cubicBezTo>
                      <a:cubicBezTo>
                        <a:pt x="80" y="3"/>
                        <a:pt x="79" y="3"/>
                        <a:pt x="78" y="3"/>
                      </a:cubicBezTo>
                      <a:cubicBezTo>
                        <a:pt x="78" y="3"/>
                        <a:pt x="78" y="3"/>
                        <a:pt x="78" y="3"/>
                      </a:cubicBezTo>
                      <a:cubicBezTo>
                        <a:pt x="78" y="3"/>
                        <a:pt x="78" y="3"/>
                        <a:pt x="78" y="3"/>
                      </a:cubicBezTo>
                      <a:cubicBezTo>
                        <a:pt x="77" y="3"/>
                        <a:pt x="77" y="2"/>
                        <a:pt x="77" y="2"/>
                      </a:cubicBezTo>
                      <a:cubicBezTo>
                        <a:pt x="77" y="1"/>
                        <a:pt x="77" y="0"/>
                        <a:pt x="78" y="0"/>
                      </a:cubicBezTo>
                      <a:cubicBezTo>
                        <a:pt x="78" y="0"/>
                        <a:pt x="78" y="0"/>
                        <a:pt x="78" y="0"/>
                      </a:cubicBezTo>
                      <a:cubicBezTo>
                        <a:pt x="79" y="0"/>
                        <a:pt x="80" y="0"/>
                        <a:pt x="80" y="0"/>
                      </a:cubicBezTo>
                      <a:cubicBezTo>
                        <a:pt x="81" y="0"/>
                        <a:pt x="81" y="1"/>
                        <a:pt x="81" y="2"/>
                      </a:cubicBezTo>
                      <a:cubicBezTo>
                        <a:pt x="81" y="3"/>
                        <a:pt x="81" y="3"/>
                        <a:pt x="80" y="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07" name="Freeform 77"/>
                <p:cNvSpPr>
                  <a:spLocks/>
                </p:cNvSpPr>
                <p:nvPr/>
              </p:nvSpPr>
              <p:spPr bwMode="auto">
                <a:xfrm>
                  <a:off x="3868738" y="-1030288"/>
                  <a:ext cx="114300" cy="190500"/>
                </a:xfrm>
                <a:custGeom>
                  <a:avLst/>
                  <a:gdLst>
                    <a:gd name="T0" fmla="*/ 36 w 36"/>
                    <a:gd name="T1" fmla="*/ 18 h 60"/>
                    <a:gd name="T2" fmla="*/ 18 w 36"/>
                    <a:gd name="T3" fmla="*/ 60 h 60"/>
                    <a:gd name="T4" fmla="*/ 0 w 36"/>
                    <a:gd name="T5" fmla="*/ 18 h 60"/>
                    <a:gd name="T6" fmla="*/ 18 w 36"/>
                    <a:gd name="T7" fmla="*/ 0 h 60"/>
                    <a:gd name="T8" fmla="*/ 36 w 36"/>
                    <a:gd name="T9" fmla="*/ 18 h 60"/>
                  </a:gdLst>
                  <a:ahLst/>
                  <a:cxnLst>
                    <a:cxn ang="0">
                      <a:pos x="T0" y="T1"/>
                    </a:cxn>
                    <a:cxn ang="0">
                      <a:pos x="T2" y="T3"/>
                    </a:cxn>
                    <a:cxn ang="0">
                      <a:pos x="T4" y="T5"/>
                    </a:cxn>
                    <a:cxn ang="0">
                      <a:pos x="T6" y="T7"/>
                    </a:cxn>
                    <a:cxn ang="0">
                      <a:pos x="T8" y="T9"/>
                    </a:cxn>
                  </a:cxnLst>
                  <a:rect l="0" t="0" r="r" b="b"/>
                  <a:pathLst>
                    <a:path w="36" h="60">
                      <a:moveTo>
                        <a:pt x="36" y="18"/>
                      </a:moveTo>
                      <a:cubicBezTo>
                        <a:pt x="36" y="28"/>
                        <a:pt x="18" y="60"/>
                        <a:pt x="18" y="60"/>
                      </a:cubicBezTo>
                      <a:cubicBezTo>
                        <a:pt x="18" y="60"/>
                        <a:pt x="0" y="28"/>
                        <a:pt x="0" y="18"/>
                      </a:cubicBezTo>
                      <a:cubicBezTo>
                        <a:pt x="0" y="8"/>
                        <a:pt x="8" y="0"/>
                        <a:pt x="18" y="0"/>
                      </a:cubicBezTo>
                      <a:cubicBezTo>
                        <a:pt x="28" y="0"/>
                        <a:pt x="36" y="8"/>
                        <a:pt x="36" y="18"/>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08" name="Oval 78"/>
                <p:cNvSpPr>
                  <a:spLocks noChangeArrowheads="1"/>
                </p:cNvSpPr>
                <p:nvPr/>
              </p:nvSpPr>
              <p:spPr bwMode="auto">
                <a:xfrm>
                  <a:off x="3894138" y="-1004888"/>
                  <a:ext cx="66675" cy="666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09" name="Freeform 79"/>
                <p:cNvSpPr>
                  <a:spLocks/>
                </p:cNvSpPr>
                <p:nvPr/>
              </p:nvSpPr>
              <p:spPr bwMode="auto">
                <a:xfrm>
                  <a:off x="4313238" y="-896938"/>
                  <a:ext cx="114300" cy="190500"/>
                </a:xfrm>
                <a:custGeom>
                  <a:avLst/>
                  <a:gdLst>
                    <a:gd name="T0" fmla="*/ 36 w 36"/>
                    <a:gd name="T1" fmla="*/ 18 h 60"/>
                    <a:gd name="T2" fmla="*/ 18 w 36"/>
                    <a:gd name="T3" fmla="*/ 60 h 60"/>
                    <a:gd name="T4" fmla="*/ 0 w 36"/>
                    <a:gd name="T5" fmla="*/ 18 h 60"/>
                    <a:gd name="T6" fmla="*/ 18 w 36"/>
                    <a:gd name="T7" fmla="*/ 0 h 60"/>
                    <a:gd name="T8" fmla="*/ 36 w 36"/>
                    <a:gd name="T9" fmla="*/ 18 h 60"/>
                  </a:gdLst>
                  <a:ahLst/>
                  <a:cxnLst>
                    <a:cxn ang="0">
                      <a:pos x="T0" y="T1"/>
                    </a:cxn>
                    <a:cxn ang="0">
                      <a:pos x="T2" y="T3"/>
                    </a:cxn>
                    <a:cxn ang="0">
                      <a:pos x="T4" y="T5"/>
                    </a:cxn>
                    <a:cxn ang="0">
                      <a:pos x="T6" y="T7"/>
                    </a:cxn>
                    <a:cxn ang="0">
                      <a:pos x="T8" y="T9"/>
                    </a:cxn>
                  </a:cxnLst>
                  <a:rect l="0" t="0" r="r" b="b"/>
                  <a:pathLst>
                    <a:path w="36" h="60">
                      <a:moveTo>
                        <a:pt x="36" y="18"/>
                      </a:moveTo>
                      <a:cubicBezTo>
                        <a:pt x="36" y="28"/>
                        <a:pt x="18" y="60"/>
                        <a:pt x="18" y="60"/>
                      </a:cubicBezTo>
                      <a:cubicBezTo>
                        <a:pt x="18" y="60"/>
                        <a:pt x="0" y="28"/>
                        <a:pt x="0" y="18"/>
                      </a:cubicBezTo>
                      <a:cubicBezTo>
                        <a:pt x="0" y="8"/>
                        <a:pt x="8" y="0"/>
                        <a:pt x="18" y="0"/>
                      </a:cubicBezTo>
                      <a:cubicBezTo>
                        <a:pt x="28" y="0"/>
                        <a:pt x="36" y="8"/>
                        <a:pt x="36" y="18"/>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10" name="Oval 80"/>
                <p:cNvSpPr>
                  <a:spLocks noChangeArrowheads="1"/>
                </p:cNvSpPr>
                <p:nvPr/>
              </p:nvSpPr>
              <p:spPr bwMode="auto">
                <a:xfrm>
                  <a:off x="4338638" y="-874713"/>
                  <a:ext cx="66675" cy="666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11" name="Oval 81"/>
                <p:cNvSpPr>
                  <a:spLocks noChangeArrowheads="1"/>
                </p:cNvSpPr>
                <p:nvPr/>
              </p:nvSpPr>
              <p:spPr bwMode="auto">
                <a:xfrm>
                  <a:off x="4033838" y="-1100138"/>
                  <a:ext cx="15875" cy="158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12" name="Oval 82"/>
                <p:cNvSpPr>
                  <a:spLocks noChangeArrowheads="1"/>
                </p:cNvSpPr>
                <p:nvPr/>
              </p:nvSpPr>
              <p:spPr bwMode="auto">
                <a:xfrm>
                  <a:off x="4500563" y="-1039813"/>
                  <a:ext cx="12700" cy="158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13" name="Oval 83"/>
                <p:cNvSpPr>
                  <a:spLocks noChangeArrowheads="1"/>
                </p:cNvSpPr>
                <p:nvPr/>
              </p:nvSpPr>
              <p:spPr bwMode="auto">
                <a:xfrm>
                  <a:off x="4081463" y="-1243013"/>
                  <a:ext cx="15875" cy="158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14" name="Oval 84"/>
                <p:cNvSpPr>
                  <a:spLocks noChangeArrowheads="1"/>
                </p:cNvSpPr>
                <p:nvPr/>
              </p:nvSpPr>
              <p:spPr bwMode="auto">
                <a:xfrm>
                  <a:off x="3856038" y="-1090613"/>
                  <a:ext cx="34925"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15" name="Oval 85"/>
                <p:cNvSpPr>
                  <a:spLocks noChangeArrowheads="1"/>
                </p:cNvSpPr>
                <p:nvPr/>
              </p:nvSpPr>
              <p:spPr bwMode="auto">
                <a:xfrm>
                  <a:off x="4275138" y="-1230313"/>
                  <a:ext cx="38100" cy="38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616" name="Oval 86"/>
                <p:cNvSpPr>
                  <a:spLocks noChangeArrowheads="1"/>
                </p:cNvSpPr>
                <p:nvPr/>
              </p:nvSpPr>
              <p:spPr bwMode="auto">
                <a:xfrm>
                  <a:off x="4364038" y="-1065213"/>
                  <a:ext cx="25400" cy="254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grpSp>
          <p:sp>
            <p:nvSpPr>
              <p:cNvPr id="580" name="Rounded Rectangle 579"/>
              <p:cNvSpPr/>
              <p:nvPr/>
            </p:nvSpPr>
            <p:spPr bwMode="auto">
              <a:xfrm>
                <a:off x="5138210" y="3552053"/>
                <a:ext cx="751133" cy="751133"/>
              </a:xfrm>
              <a:prstGeom prst="roundRect">
                <a:avLst>
                  <a:gd name="adj" fmla="val 10644"/>
                </a:avLst>
              </a:prstGeom>
              <a:solidFill>
                <a:srgbClr val="666666"/>
              </a:solidFill>
              <a:ln w="12700" cap="flat" cmpd="sng" algn="ctr">
                <a:noFill/>
                <a:prstDash val="solid"/>
                <a:round/>
                <a:headEnd type="none" w="med" len="med"/>
                <a:tailEnd type="none" w="med" len="med"/>
              </a:ln>
              <a:effectLst/>
            </p:spPr>
            <p:txBody>
              <a:bodyPr vert="horz" wrap="square" lIns="18288" tIns="18288" rIns="18288" bIns="18288" numCol="1" rtlCol="0" anchor="b" anchorCtr="0" compatLnSpc="1">
                <a:prstTxWarp prst="textNoShape">
                  <a:avLst/>
                </a:prstTxWarp>
                <a:noAutofit/>
              </a:bodyPr>
              <a:lstStyle/>
              <a:p>
                <a:pPr algn="ctr"/>
                <a:r>
                  <a:rPr lang="tr-TR" sz="600" dirty="0">
                    <a:solidFill>
                      <a:srgbClr val="FFFFFF"/>
                    </a:solidFill>
                    <a:latin typeface="Calibri"/>
                  </a:rPr>
                  <a:t>NAKLİYE</a:t>
                </a:r>
              </a:p>
              <a:p>
                <a:pPr algn="ctr"/>
                <a:r>
                  <a:rPr lang="tr-TR" sz="600" dirty="0">
                    <a:solidFill>
                      <a:srgbClr val="FFFFFF"/>
                    </a:solidFill>
                  </a:rPr>
                  <a:t>OPTİMİZASYON</a:t>
                </a:r>
                <a:endParaRPr lang="en-US" sz="600" dirty="0">
                  <a:solidFill>
                    <a:srgbClr val="FFFFFF"/>
                  </a:solidFill>
                  <a:latin typeface="Calibri"/>
                </a:endParaRPr>
              </a:p>
            </p:txBody>
          </p:sp>
          <p:grpSp>
            <p:nvGrpSpPr>
              <p:cNvPr id="581" name="Group 580"/>
              <p:cNvGrpSpPr/>
              <p:nvPr/>
            </p:nvGrpSpPr>
            <p:grpSpPr>
              <a:xfrm>
                <a:off x="5336262" y="3650319"/>
                <a:ext cx="355028" cy="355028"/>
                <a:chOff x="1566863" y="-163513"/>
                <a:chExt cx="504825" cy="504825"/>
              </a:xfrm>
            </p:grpSpPr>
            <p:sp>
              <p:nvSpPr>
                <p:cNvPr id="584" name="Freeform 48"/>
                <p:cNvSpPr>
                  <a:spLocks noEditPoints="1"/>
                </p:cNvSpPr>
                <p:nvPr/>
              </p:nvSpPr>
              <p:spPr bwMode="auto">
                <a:xfrm>
                  <a:off x="1566863" y="-163513"/>
                  <a:ext cx="504825" cy="504825"/>
                </a:xfrm>
                <a:custGeom>
                  <a:avLst/>
                  <a:gdLst>
                    <a:gd name="T0" fmla="*/ 142 w 159"/>
                    <a:gd name="T1" fmla="*/ 0 h 159"/>
                    <a:gd name="T2" fmla="*/ 17 w 159"/>
                    <a:gd name="T3" fmla="*/ 0 h 159"/>
                    <a:gd name="T4" fmla="*/ 0 w 159"/>
                    <a:gd name="T5" fmla="*/ 17 h 159"/>
                    <a:gd name="T6" fmla="*/ 0 w 159"/>
                    <a:gd name="T7" fmla="*/ 142 h 159"/>
                    <a:gd name="T8" fmla="*/ 17 w 159"/>
                    <a:gd name="T9" fmla="*/ 159 h 159"/>
                    <a:gd name="T10" fmla="*/ 142 w 159"/>
                    <a:gd name="T11" fmla="*/ 159 h 159"/>
                    <a:gd name="T12" fmla="*/ 159 w 159"/>
                    <a:gd name="T13" fmla="*/ 142 h 159"/>
                    <a:gd name="T14" fmla="*/ 159 w 159"/>
                    <a:gd name="T15" fmla="*/ 17 h 159"/>
                    <a:gd name="T16" fmla="*/ 142 w 159"/>
                    <a:gd name="T17" fmla="*/ 0 h 159"/>
                    <a:gd name="T18" fmla="*/ 154 w 159"/>
                    <a:gd name="T19" fmla="*/ 142 h 159"/>
                    <a:gd name="T20" fmla="*/ 142 w 159"/>
                    <a:gd name="T21" fmla="*/ 155 h 159"/>
                    <a:gd name="T22" fmla="*/ 17 w 159"/>
                    <a:gd name="T23" fmla="*/ 155 h 159"/>
                    <a:gd name="T24" fmla="*/ 5 w 159"/>
                    <a:gd name="T25" fmla="*/ 142 h 159"/>
                    <a:gd name="T26" fmla="*/ 5 w 159"/>
                    <a:gd name="T27" fmla="*/ 119 h 159"/>
                    <a:gd name="T28" fmla="*/ 6 w 159"/>
                    <a:gd name="T29" fmla="*/ 118 h 159"/>
                    <a:gd name="T30" fmla="*/ 7 w 159"/>
                    <a:gd name="T31" fmla="*/ 117 h 159"/>
                    <a:gd name="T32" fmla="*/ 13 w 159"/>
                    <a:gd name="T33" fmla="*/ 110 h 159"/>
                    <a:gd name="T34" fmla="*/ 13 w 159"/>
                    <a:gd name="T35" fmla="*/ 109 h 159"/>
                    <a:gd name="T36" fmla="*/ 14 w 159"/>
                    <a:gd name="T37" fmla="*/ 109 h 159"/>
                    <a:gd name="T38" fmla="*/ 14 w 159"/>
                    <a:gd name="T39" fmla="*/ 106 h 159"/>
                    <a:gd name="T40" fmla="*/ 12 w 159"/>
                    <a:gd name="T41" fmla="*/ 105 h 159"/>
                    <a:gd name="T42" fmla="*/ 11 w 159"/>
                    <a:gd name="T43" fmla="*/ 105 h 159"/>
                    <a:gd name="T44" fmla="*/ 10 w 159"/>
                    <a:gd name="T45" fmla="*/ 106 h 159"/>
                    <a:gd name="T46" fmla="*/ 10 w 159"/>
                    <a:gd name="T47" fmla="*/ 106 h 159"/>
                    <a:gd name="T48" fmla="*/ 5 w 159"/>
                    <a:gd name="T49" fmla="*/ 112 h 159"/>
                    <a:gd name="T50" fmla="*/ 5 w 159"/>
                    <a:gd name="T51" fmla="*/ 17 h 159"/>
                    <a:gd name="T52" fmla="*/ 17 w 159"/>
                    <a:gd name="T53" fmla="*/ 5 h 159"/>
                    <a:gd name="T54" fmla="*/ 142 w 159"/>
                    <a:gd name="T55" fmla="*/ 5 h 159"/>
                    <a:gd name="T56" fmla="*/ 154 w 159"/>
                    <a:gd name="T57" fmla="*/ 17 h 159"/>
                    <a:gd name="T58" fmla="*/ 154 w 159"/>
                    <a:gd name="T59" fmla="*/ 142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9" h="159">
                      <a:moveTo>
                        <a:pt x="142" y="0"/>
                      </a:moveTo>
                      <a:cubicBezTo>
                        <a:pt x="17" y="0"/>
                        <a:pt x="17" y="0"/>
                        <a:pt x="17" y="0"/>
                      </a:cubicBezTo>
                      <a:cubicBezTo>
                        <a:pt x="8" y="0"/>
                        <a:pt x="0" y="8"/>
                        <a:pt x="0" y="17"/>
                      </a:cubicBezTo>
                      <a:cubicBezTo>
                        <a:pt x="0" y="142"/>
                        <a:pt x="0" y="142"/>
                        <a:pt x="0" y="142"/>
                      </a:cubicBezTo>
                      <a:cubicBezTo>
                        <a:pt x="0" y="152"/>
                        <a:pt x="8" y="159"/>
                        <a:pt x="17" y="159"/>
                      </a:cubicBezTo>
                      <a:cubicBezTo>
                        <a:pt x="142" y="159"/>
                        <a:pt x="142" y="159"/>
                        <a:pt x="142" y="159"/>
                      </a:cubicBezTo>
                      <a:cubicBezTo>
                        <a:pt x="151" y="159"/>
                        <a:pt x="159" y="152"/>
                        <a:pt x="159" y="142"/>
                      </a:cubicBezTo>
                      <a:cubicBezTo>
                        <a:pt x="159" y="17"/>
                        <a:pt x="159" y="17"/>
                        <a:pt x="159" y="17"/>
                      </a:cubicBezTo>
                      <a:cubicBezTo>
                        <a:pt x="159" y="8"/>
                        <a:pt x="151" y="0"/>
                        <a:pt x="142" y="0"/>
                      </a:cubicBezTo>
                      <a:moveTo>
                        <a:pt x="154" y="142"/>
                      </a:moveTo>
                      <a:cubicBezTo>
                        <a:pt x="154" y="149"/>
                        <a:pt x="149" y="155"/>
                        <a:pt x="142" y="155"/>
                      </a:cubicBezTo>
                      <a:cubicBezTo>
                        <a:pt x="17" y="155"/>
                        <a:pt x="17" y="155"/>
                        <a:pt x="17" y="155"/>
                      </a:cubicBezTo>
                      <a:cubicBezTo>
                        <a:pt x="10" y="155"/>
                        <a:pt x="5" y="149"/>
                        <a:pt x="5" y="142"/>
                      </a:cubicBezTo>
                      <a:cubicBezTo>
                        <a:pt x="5" y="119"/>
                        <a:pt x="5" y="119"/>
                        <a:pt x="5" y="119"/>
                      </a:cubicBezTo>
                      <a:cubicBezTo>
                        <a:pt x="5" y="119"/>
                        <a:pt x="6" y="119"/>
                        <a:pt x="6" y="118"/>
                      </a:cubicBezTo>
                      <a:cubicBezTo>
                        <a:pt x="7" y="117"/>
                        <a:pt x="7" y="117"/>
                        <a:pt x="7" y="117"/>
                      </a:cubicBezTo>
                      <a:cubicBezTo>
                        <a:pt x="8" y="114"/>
                        <a:pt x="10" y="112"/>
                        <a:pt x="13" y="110"/>
                      </a:cubicBezTo>
                      <a:cubicBezTo>
                        <a:pt x="13" y="109"/>
                        <a:pt x="13" y="109"/>
                        <a:pt x="13" y="109"/>
                      </a:cubicBezTo>
                      <a:cubicBezTo>
                        <a:pt x="14" y="109"/>
                        <a:pt x="14" y="109"/>
                        <a:pt x="14" y="109"/>
                      </a:cubicBezTo>
                      <a:cubicBezTo>
                        <a:pt x="15" y="108"/>
                        <a:pt x="15" y="107"/>
                        <a:pt x="14" y="106"/>
                      </a:cubicBezTo>
                      <a:cubicBezTo>
                        <a:pt x="14" y="105"/>
                        <a:pt x="13" y="105"/>
                        <a:pt x="12" y="105"/>
                      </a:cubicBezTo>
                      <a:cubicBezTo>
                        <a:pt x="12" y="105"/>
                        <a:pt x="11" y="105"/>
                        <a:pt x="11" y="105"/>
                      </a:cubicBezTo>
                      <a:cubicBezTo>
                        <a:pt x="10" y="106"/>
                        <a:pt x="10" y="106"/>
                        <a:pt x="10" y="106"/>
                      </a:cubicBezTo>
                      <a:cubicBezTo>
                        <a:pt x="10" y="106"/>
                        <a:pt x="10" y="106"/>
                        <a:pt x="10" y="106"/>
                      </a:cubicBezTo>
                      <a:cubicBezTo>
                        <a:pt x="8" y="108"/>
                        <a:pt x="6" y="110"/>
                        <a:pt x="5" y="112"/>
                      </a:cubicBezTo>
                      <a:cubicBezTo>
                        <a:pt x="5" y="17"/>
                        <a:pt x="5" y="17"/>
                        <a:pt x="5" y="17"/>
                      </a:cubicBezTo>
                      <a:cubicBezTo>
                        <a:pt x="5" y="10"/>
                        <a:pt x="10" y="5"/>
                        <a:pt x="17" y="5"/>
                      </a:cubicBezTo>
                      <a:cubicBezTo>
                        <a:pt x="142" y="5"/>
                        <a:pt x="142" y="5"/>
                        <a:pt x="142" y="5"/>
                      </a:cubicBezTo>
                      <a:cubicBezTo>
                        <a:pt x="149" y="5"/>
                        <a:pt x="154" y="10"/>
                        <a:pt x="154" y="17"/>
                      </a:cubicBezTo>
                      <a:lnTo>
                        <a:pt x="154"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585" name="Freeform 49"/>
                <p:cNvSpPr>
                  <a:spLocks/>
                </p:cNvSpPr>
                <p:nvPr/>
              </p:nvSpPr>
              <p:spPr bwMode="auto">
                <a:xfrm>
                  <a:off x="1662113" y="-77788"/>
                  <a:ext cx="63500" cy="63500"/>
                </a:xfrm>
                <a:custGeom>
                  <a:avLst/>
                  <a:gdLst>
                    <a:gd name="T0" fmla="*/ 0 w 20"/>
                    <a:gd name="T1" fmla="*/ 19 h 20"/>
                    <a:gd name="T2" fmla="*/ 2 w 20"/>
                    <a:gd name="T3" fmla="*/ 20 h 20"/>
                    <a:gd name="T4" fmla="*/ 4 w 20"/>
                    <a:gd name="T5" fmla="*/ 19 h 20"/>
                    <a:gd name="T6" fmla="*/ 10 w 20"/>
                    <a:gd name="T7" fmla="*/ 14 h 20"/>
                    <a:gd name="T8" fmla="*/ 15 w 20"/>
                    <a:gd name="T9" fmla="*/ 19 h 20"/>
                    <a:gd name="T10" fmla="*/ 17 w 20"/>
                    <a:gd name="T11" fmla="*/ 20 h 20"/>
                    <a:gd name="T12" fmla="*/ 19 w 20"/>
                    <a:gd name="T13" fmla="*/ 19 h 20"/>
                    <a:gd name="T14" fmla="*/ 19 w 20"/>
                    <a:gd name="T15" fmla="*/ 16 h 20"/>
                    <a:gd name="T16" fmla="*/ 13 w 20"/>
                    <a:gd name="T17" fmla="*/ 10 h 20"/>
                    <a:gd name="T18" fmla="*/ 19 w 20"/>
                    <a:gd name="T19" fmla="*/ 4 h 20"/>
                    <a:gd name="T20" fmla="*/ 19 w 20"/>
                    <a:gd name="T21" fmla="*/ 1 h 20"/>
                    <a:gd name="T22" fmla="*/ 15 w 20"/>
                    <a:gd name="T23" fmla="*/ 1 h 20"/>
                    <a:gd name="T24" fmla="*/ 10 w 20"/>
                    <a:gd name="T25" fmla="*/ 7 h 20"/>
                    <a:gd name="T26" fmla="*/ 4 w 20"/>
                    <a:gd name="T27" fmla="*/ 1 h 20"/>
                    <a:gd name="T28" fmla="*/ 0 w 20"/>
                    <a:gd name="T29" fmla="*/ 1 h 20"/>
                    <a:gd name="T30" fmla="*/ 0 w 20"/>
                    <a:gd name="T31" fmla="*/ 4 h 20"/>
                    <a:gd name="T32" fmla="*/ 6 w 20"/>
                    <a:gd name="T33" fmla="*/ 10 h 20"/>
                    <a:gd name="T34" fmla="*/ 0 w 20"/>
                    <a:gd name="T35" fmla="*/ 16 h 20"/>
                    <a:gd name="T36" fmla="*/ 0 w 20"/>
                    <a:gd name="T3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0">
                      <a:moveTo>
                        <a:pt x="0" y="19"/>
                      </a:moveTo>
                      <a:cubicBezTo>
                        <a:pt x="1" y="20"/>
                        <a:pt x="2" y="20"/>
                        <a:pt x="2" y="20"/>
                      </a:cubicBezTo>
                      <a:cubicBezTo>
                        <a:pt x="3" y="20"/>
                        <a:pt x="3" y="20"/>
                        <a:pt x="4" y="19"/>
                      </a:cubicBezTo>
                      <a:cubicBezTo>
                        <a:pt x="10" y="14"/>
                        <a:pt x="10" y="14"/>
                        <a:pt x="10" y="14"/>
                      </a:cubicBezTo>
                      <a:cubicBezTo>
                        <a:pt x="15" y="19"/>
                        <a:pt x="15" y="19"/>
                        <a:pt x="15" y="19"/>
                      </a:cubicBezTo>
                      <a:cubicBezTo>
                        <a:pt x="16" y="20"/>
                        <a:pt x="16" y="20"/>
                        <a:pt x="17" y="20"/>
                      </a:cubicBezTo>
                      <a:cubicBezTo>
                        <a:pt x="18" y="20"/>
                        <a:pt x="18" y="20"/>
                        <a:pt x="19" y="19"/>
                      </a:cubicBezTo>
                      <a:cubicBezTo>
                        <a:pt x="20" y="19"/>
                        <a:pt x="20" y="17"/>
                        <a:pt x="19" y="16"/>
                      </a:cubicBezTo>
                      <a:cubicBezTo>
                        <a:pt x="13" y="10"/>
                        <a:pt x="13" y="10"/>
                        <a:pt x="13" y="10"/>
                      </a:cubicBezTo>
                      <a:cubicBezTo>
                        <a:pt x="19" y="4"/>
                        <a:pt x="19" y="4"/>
                        <a:pt x="19" y="4"/>
                      </a:cubicBezTo>
                      <a:cubicBezTo>
                        <a:pt x="20" y="4"/>
                        <a:pt x="20" y="2"/>
                        <a:pt x="19" y="1"/>
                      </a:cubicBezTo>
                      <a:cubicBezTo>
                        <a:pt x="18" y="0"/>
                        <a:pt x="16" y="0"/>
                        <a:pt x="15" y="1"/>
                      </a:cubicBezTo>
                      <a:cubicBezTo>
                        <a:pt x="10" y="7"/>
                        <a:pt x="10" y="7"/>
                        <a:pt x="10" y="7"/>
                      </a:cubicBezTo>
                      <a:cubicBezTo>
                        <a:pt x="4" y="1"/>
                        <a:pt x="4" y="1"/>
                        <a:pt x="4" y="1"/>
                      </a:cubicBezTo>
                      <a:cubicBezTo>
                        <a:pt x="3" y="0"/>
                        <a:pt x="1" y="0"/>
                        <a:pt x="0" y="1"/>
                      </a:cubicBezTo>
                      <a:cubicBezTo>
                        <a:pt x="0" y="2"/>
                        <a:pt x="0" y="4"/>
                        <a:pt x="0" y="4"/>
                      </a:cubicBezTo>
                      <a:cubicBezTo>
                        <a:pt x="6" y="10"/>
                        <a:pt x="6" y="10"/>
                        <a:pt x="6" y="10"/>
                      </a:cubicBezTo>
                      <a:cubicBezTo>
                        <a:pt x="0" y="16"/>
                        <a:pt x="0" y="16"/>
                        <a:pt x="0" y="16"/>
                      </a:cubicBezTo>
                      <a:cubicBezTo>
                        <a:pt x="0" y="17"/>
                        <a:pt x="0" y="19"/>
                        <a:pt x="0"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586" name="Freeform 50"/>
                <p:cNvSpPr>
                  <a:spLocks/>
                </p:cNvSpPr>
                <p:nvPr/>
              </p:nvSpPr>
              <p:spPr bwMode="auto">
                <a:xfrm>
                  <a:off x="1785938" y="214312"/>
                  <a:ext cx="63500" cy="63500"/>
                </a:xfrm>
                <a:custGeom>
                  <a:avLst/>
                  <a:gdLst>
                    <a:gd name="T0" fmla="*/ 20 w 20"/>
                    <a:gd name="T1" fmla="*/ 1 h 20"/>
                    <a:gd name="T2" fmla="*/ 16 w 20"/>
                    <a:gd name="T3" fmla="*/ 1 h 20"/>
                    <a:gd name="T4" fmla="*/ 10 w 20"/>
                    <a:gd name="T5" fmla="*/ 7 h 20"/>
                    <a:gd name="T6" fmla="*/ 5 w 20"/>
                    <a:gd name="T7" fmla="*/ 1 h 20"/>
                    <a:gd name="T8" fmla="*/ 1 w 20"/>
                    <a:gd name="T9" fmla="*/ 1 h 20"/>
                    <a:gd name="T10" fmla="*/ 1 w 20"/>
                    <a:gd name="T11" fmla="*/ 5 h 20"/>
                    <a:gd name="T12" fmla="*/ 7 w 20"/>
                    <a:gd name="T13" fmla="*/ 11 h 20"/>
                    <a:gd name="T14" fmla="*/ 1 w 20"/>
                    <a:gd name="T15" fmla="*/ 16 h 20"/>
                    <a:gd name="T16" fmla="*/ 1 w 20"/>
                    <a:gd name="T17" fmla="*/ 20 h 20"/>
                    <a:gd name="T18" fmla="*/ 3 w 20"/>
                    <a:gd name="T19" fmla="*/ 20 h 20"/>
                    <a:gd name="T20" fmla="*/ 5 w 20"/>
                    <a:gd name="T21" fmla="*/ 20 h 20"/>
                    <a:gd name="T22" fmla="*/ 10 w 20"/>
                    <a:gd name="T23" fmla="*/ 14 h 20"/>
                    <a:gd name="T24" fmla="*/ 16 w 20"/>
                    <a:gd name="T25" fmla="*/ 20 h 20"/>
                    <a:gd name="T26" fmla="*/ 18 w 20"/>
                    <a:gd name="T27" fmla="*/ 20 h 20"/>
                    <a:gd name="T28" fmla="*/ 20 w 20"/>
                    <a:gd name="T29" fmla="*/ 20 h 20"/>
                    <a:gd name="T30" fmla="*/ 20 w 20"/>
                    <a:gd name="T31" fmla="*/ 16 h 20"/>
                    <a:gd name="T32" fmla="*/ 14 w 20"/>
                    <a:gd name="T33" fmla="*/ 11 h 20"/>
                    <a:gd name="T34" fmla="*/ 20 w 20"/>
                    <a:gd name="T35" fmla="*/ 5 h 20"/>
                    <a:gd name="T36" fmla="*/ 20 w 20"/>
                    <a:gd name="T3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0">
                      <a:moveTo>
                        <a:pt x="20" y="1"/>
                      </a:moveTo>
                      <a:cubicBezTo>
                        <a:pt x="19" y="0"/>
                        <a:pt x="17" y="0"/>
                        <a:pt x="16" y="1"/>
                      </a:cubicBezTo>
                      <a:cubicBezTo>
                        <a:pt x="10" y="7"/>
                        <a:pt x="10" y="7"/>
                        <a:pt x="10" y="7"/>
                      </a:cubicBezTo>
                      <a:cubicBezTo>
                        <a:pt x="5" y="1"/>
                        <a:pt x="5" y="1"/>
                        <a:pt x="5" y="1"/>
                      </a:cubicBezTo>
                      <a:cubicBezTo>
                        <a:pt x="4" y="0"/>
                        <a:pt x="2" y="0"/>
                        <a:pt x="1" y="1"/>
                      </a:cubicBezTo>
                      <a:cubicBezTo>
                        <a:pt x="0" y="2"/>
                        <a:pt x="0" y="4"/>
                        <a:pt x="1" y="5"/>
                      </a:cubicBezTo>
                      <a:cubicBezTo>
                        <a:pt x="7" y="11"/>
                        <a:pt x="7" y="11"/>
                        <a:pt x="7" y="11"/>
                      </a:cubicBezTo>
                      <a:cubicBezTo>
                        <a:pt x="1" y="16"/>
                        <a:pt x="1" y="16"/>
                        <a:pt x="1" y="16"/>
                      </a:cubicBezTo>
                      <a:cubicBezTo>
                        <a:pt x="0" y="17"/>
                        <a:pt x="0" y="19"/>
                        <a:pt x="1" y="20"/>
                      </a:cubicBezTo>
                      <a:cubicBezTo>
                        <a:pt x="2" y="20"/>
                        <a:pt x="2" y="20"/>
                        <a:pt x="3" y="20"/>
                      </a:cubicBezTo>
                      <a:cubicBezTo>
                        <a:pt x="4" y="20"/>
                        <a:pt x="4" y="20"/>
                        <a:pt x="5" y="20"/>
                      </a:cubicBezTo>
                      <a:cubicBezTo>
                        <a:pt x="10" y="14"/>
                        <a:pt x="10" y="14"/>
                        <a:pt x="10" y="14"/>
                      </a:cubicBezTo>
                      <a:cubicBezTo>
                        <a:pt x="16" y="20"/>
                        <a:pt x="16" y="20"/>
                        <a:pt x="16" y="20"/>
                      </a:cubicBezTo>
                      <a:cubicBezTo>
                        <a:pt x="17" y="20"/>
                        <a:pt x="17" y="20"/>
                        <a:pt x="18" y="20"/>
                      </a:cubicBezTo>
                      <a:cubicBezTo>
                        <a:pt x="19" y="20"/>
                        <a:pt x="19" y="20"/>
                        <a:pt x="20" y="20"/>
                      </a:cubicBezTo>
                      <a:cubicBezTo>
                        <a:pt x="20" y="19"/>
                        <a:pt x="20" y="17"/>
                        <a:pt x="20" y="16"/>
                      </a:cubicBezTo>
                      <a:cubicBezTo>
                        <a:pt x="14" y="11"/>
                        <a:pt x="14" y="11"/>
                        <a:pt x="14" y="11"/>
                      </a:cubicBezTo>
                      <a:cubicBezTo>
                        <a:pt x="20" y="5"/>
                        <a:pt x="20" y="5"/>
                        <a:pt x="20" y="5"/>
                      </a:cubicBezTo>
                      <a:cubicBezTo>
                        <a:pt x="20" y="4"/>
                        <a:pt x="20" y="2"/>
                        <a:pt x="20" y="1"/>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587" name="Freeform 51"/>
                <p:cNvSpPr>
                  <a:spLocks/>
                </p:cNvSpPr>
                <p:nvPr/>
              </p:nvSpPr>
              <p:spPr bwMode="auto">
                <a:xfrm>
                  <a:off x="1906588" y="49212"/>
                  <a:ext cx="63500" cy="63500"/>
                </a:xfrm>
                <a:custGeom>
                  <a:avLst/>
                  <a:gdLst>
                    <a:gd name="T0" fmla="*/ 16 w 20"/>
                    <a:gd name="T1" fmla="*/ 19 h 20"/>
                    <a:gd name="T2" fmla="*/ 17 w 20"/>
                    <a:gd name="T3" fmla="*/ 20 h 20"/>
                    <a:gd name="T4" fmla="*/ 19 w 20"/>
                    <a:gd name="T5" fmla="*/ 19 h 20"/>
                    <a:gd name="T6" fmla="*/ 19 w 20"/>
                    <a:gd name="T7" fmla="*/ 16 h 20"/>
                    <a:gd name="T8" fmla="*/ 13 w 20"/>
                    <a:gd name="T9" fmla="*/ 10 h 20"/>
                    <a:gd name="T10" fmla="*/ 19 w 20"/>
                    <a:gd name="T11" fmla="*/ 4 h 20"/>
                    <a:gd name="T12" fmla="*/ 19 w 20"/>
                    <a:gd name="T13" fmla="*/ 1 h 20"/>
                    <a:gd name="T14" fmla="*/ 16 w 20"/>
                    <a:gd name="T15" fmla="*/ 1 h 20"/>
                    <a:gd name="T16" fmla="*/ 10 w 20"/>
                    <a:gd name="T17" fmla="*/ 7 h 20"/>
                    <a:gd name="T18" fmla="*/ 4 w 20"/>
                    <a:gd name="T19" fmla="*/ 1 h 20"/>
                    <a:gd name="T20" fmla="*/ 1 w 20"/>
                    <a:gd name="T21" fmla="*/ 1 h 20"/>
                    <a:gd name="T22" fmla="*/ 1 w 20"/>
                    <a:gd name="T23" fmla="*/ 4 h 20"/>
                    <a:gd name="T24" fmla="*/ 7 w 20"/>
                    <a:gd name="T25" fmla="*/ 10 h 20"/>
                    <a:gd name="T26" fmla="*/ 1 w 20"/>
                    <a:gd name="T27" fmla="*/ 16 h 20"/>
                    <a:gd name="T28" fmla="*/ 1 w 20"/>
                    <a:gd name="T29" fmla="*/ 19 h 20"/>
                    <a:gd name="T30" fmla="*/ 2 w 20"/>
                    <a:gd name="T31" fmla="*/ 20 h 20"/>
                    <a:gd name="T32" fmla="*/ 4 w 20"/>
                    <a:gd name="T33" fmla="*/ 19 h 20"/>
                    <a:gd name="T34" fmla="*/ 10 w 20"/>
                    <a:gd name="T35" fmla="*/ 13 h 20"/>
                    <a:gd name="T36" fmla="*/ 16 w 20"/>
                    <a:gd name="T3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20">
                      <a:moveTo>
                        <a:pt x="16" y="19"/>
                      </a:moveTo>
                      <a:cubicBezTo>
                        <a:pt x="16" y="20"/>
                        <a:pt x="17" y="20"/>
                        <a:pt x="17" y="20"/>
                      </a:cubicBezTo>
                      <a:cubicBezTo>
                        <a:pt x="18" y="20"/>
                        <a:pt x="18" y="20"/>
                        <a:pt x="19" y="19"/>
                      </a:cubicBezTo>
                      <a:cubicBezTo>
                        <a:pt x="20" y="18"/>
                        <a:pt x="20" y="17"/>
                        <a:pt x="19" y="16"/>
                      </a:cubicBezTo>
                      <a:cubicBezTo>
                        <a:pt x="13" y="10"/>
                        <a:pt x="13" y="10"/>
                        <a:pt x="13" y="10"/>
                      </a:cubicBezTo>
                      <a:cubicBezTo>
                        <a:pt x="19" y="4"/>
                        <a:pt x="19" y="4"/>
                        <a:pt x="19" y="4"/>
                      </a:cubicBezTo>
                      <a:cubicBezTo>
                        <a:pt x="20" y="3"/>
                        <a:pt x="20" y="2"/>
                        <a:pt x="19" y="1"/>
                      </a:cubicBezTo>
                      <a:cubicBezTo>
                        <a:pt x="18" y="0"/>
                        <a:pt x="17" y="0"/>
                        <a:pt x="16" y="1"/>
                      </a:cubicBezTo>
                      <a:cubicBezTo>
                        <a:pt x="10" y="7"/>
                        <a:pt x="10" y="7"/>
                        <a:pt x="10" y="7"/>
                      </a:cubicBezTo>
                      <a:cubicBezTo>
                        <a:pt x="4" y="1"/>
                        <a:pt x="4" y="1"/>
                        <a:pt x="4" y="1"/>
                      </a:cubicBezTo>
                      <a:cubicBezTo>
                        <a:pt x="3" y="0"/>
                        <a:pt x="2" y="0"/>
                        <a:pt x="1" y="1"/>
                      </a:cubicBezTo>
                      <a:cubicBezTo>
                        <a:pt x="0" y="2"/>
                        <a:pt x="0" y="3"/>
                        <a:pt x="1" y="4"/>
                      </a:cubicBezTo>
                      <a:cubicBezTo>
                        <a:pt x="7" y="10"/>
                        <a:pt x="7" y="10"/>
                        <a:pt x="7" y="10"/>
                      </a:cubicBezTo>
                      <a:cubicBezTo>
                        <a:pt x="1" y="16"/>
                        <a:pt x="1" y="16"/>
                        <a:pt x="1" y="16"/>
                      </a:cubicBezTo>
                      <a:cubicBezTo>
                        <a:pt x="0" y="17"/>
                        <a:pt x="0" y="18"/>
                        <a:pt x="1" y="19"/>
                      </a:cubicBezTo>
                      <a:cubicBezTo>
                        <a:pt x="1" y="20"/>
                        <a:pt x="2" y="20"/>
                        <a:pt x="2" y="20"/>
                      </a:cubicBezTo>
                      <a:cubicBezTo>
                        <a:pt x="3" y="20"/>
                        <a:pt x="4" y="20"/>
                        <a:pt x="4" y="19"/>
                      </a:cubicBezTo>
                      <a:cubicBezTo>
                        <a:pt x="10" y="13"/>
                        <a:pt x="10" y="13"/>
                        <a:pt x="10" y="13"/>
                      </a:cubicBezTo>
                      <a:lnTo>
                        <a:pt x="16"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588" name="Oval 52"/>
                <p:cNvSpPr>
                  <a:spLocks noChangeArrowheads="1"/>
                </p:cNvSpPr>
                <p:nvPr/>
              </p:nvSpPr>
              <p:spPr bwMode="auto">
                <a:xfrm>
                  <a:off x="1852613" y="-74613"/>
                  <a:ext cx="28575" cy="28575"/>
                </a:xfrm>
                <a:prstGeom prst="ellipse">
                  <a:avLst/>
                </a:pr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589" name="Freeform 53"/>
                <p:cNvSpPr>
                  <a:spLocks/>
                </p:cNvSpPr>
                <p:nvPr/>
              </p:nvSpPr>
              <p:spPr bwMode="auto">
                <a:xfrm>
                  <a:off x="1627188" y="153987"/>
                  <a:ext cx="53975" cy="15875"/>
                </a:xfrm>
                <a:custGeom>
                  <a:avLst/>
                  <a:gdLst>
                    <a:gd name="T0" fmla="*/ 15 w 17"/>
                    <a:gd name="T1" fmla="*/ 0 h 5"/>
                    <a:gd name="T2" fmla="*/ 14 w 17"/>
                    <a:gd name="T3" fmla="*/ 0 h 5"/>
                    <a:gd name="T4" fmla="*/ 14 w 17"/>
                    <a:gd name="T5" fmla="*/ 0 h 5"/>
                    <a:gd name="T6" fmla="*/ 8 w 17"/>
                    <a:gd name="T7" fmla="*/ 0 h 5"/>
                    <a:gd name="T8" fmla="*/ 3 w 17"/>
                    <a:gd name="T9" fmla="*/ 0 h 5"/>
                    <a:gd name="T10" fmla="*/ 2 w 17"/>
                    <a:gd name="T11" fmla="*/ 1 h 5"/>
                    <a:gd name="T12" fmla="*/ 0 w 17"/>
                    <a:gd name="T13" fmla="*/ 2 h 5"/>
                    <a:gd name="T14" fmla="*/ 0 w 17"/>
                    <a:gd name="T15" fmla="*/ 3 h 5"/>
                    <a:gd name="T16" fmla="*/ 2 w 17"/>
                    <a:gd name="T17" fmla="*/ 5 h 5"/>
                    <a:gd name="T18" fmla="*/ 3 w 17"/>
                    <a:gd name="T19" fmla="*/ 5 h 5"/>
                    <a:gd name="T20" fmla="*/ 3 w 17"/>
                    <a:gd name="T21" fmla="*/ 5 h 5"/>
                    <a:gd name="T22" fmla="*/ 4 w 17"/>
                    <a:gd name="T23" fmla="*/ 5 h 5"/>
                    <a:gd name="T24" fmla="*/ 8 w 17"/>
                    <a:gd name="T25" fmla="*/ 4 h 5"/>
                    <a:gd name="T26" fmla="*/ 14 w 17"/>
                    <a:gd name="T27" fmla="*/ 4 h 5"/>
                    <a:gd name="T28" fmla="*/ 14 w 17"/>
                    <a:gd name="T29" fmla="*/ 4 h 5"/>
                    <a:gd name="T30" fmla="*/ 15 w 17"/>
                    <a:gd name="T31" fmla="*/ 4 h 5"/>
                    <a:gd name="T32" fmla="*/ 17 w 17"/>
                    <a:gd name="T33" fmla="*/ 2 h 5"/>
                    <a:gd name="T34" fmla="*/ 15 w 17"/>
                    <a:gd name="T3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5">
                      <a:moveTo>
                        <a:pt x="15" y="0"/>
                      </a:moveTo>
                      <a:cubicBezTo>
                        <a:pt x="14" y="0"/>
                        <a:pt x="14" y="0"/>
                        <a:pt x="14" y="0"/>
                      </a:cubicBezTo>
                      <a:cubicBezTo>
                        <a:pt x="14" y="0"/>
                        <a:pt x="14" y="0"/>
                        <a:pt x="14" y="0"/>
                      </a:cubicBezTo>
                      <a:cubicBezTo>
                        <a:pt x="8" y="0"/>
                        <a:pt x="8" y="0"/>
                        <a:pt x="8" y="0"/>
                      </a:cubicBezTo>
                      <a:cubicBezTo>
                        <a:pt x="6" y="0"/>
                        <a:pt x="5" y="0"/>
                        <a:pt x="3" y="0"/>
                      </a:cubicBezTo>
                      <a:cubicBezTo>
                        <a:pt x="3" y="0"/>
                        <a:pt x="2" y="0"/>
                        <a:pt x="2" y="1"/>
                      </a:cubicBezTo>
                      <a:cubicBezTo>
                        <a:pt x="1" y="1"/>
                        <a:pt x="1" y="1"/>
                        <a:pt x="0" y="2"/>
                      </a:cubicBezTo>
                      <a:cubicBezTo>
                        <a:pt x="0" y="2"/>
                        <a:pt x="0" y="3"/>
                        <a:pt x="0" y="3"/>
                      </a:cubicBezTo>
                      <a:cubicBezTo>
                        <a:pt x="0" y="4"/>
                        <a:pt x="1" y="5"/>
                        <a:pt x="2" y="5"/>
                      </a:cubicBezTo>
                      <a:cubicBezTo>
                        <a:pt x="3" y="5"/>
                        <a:pt x="3" y="5"/>
                        <a:pt x="3" y="5"/>
                      </a:cubicBezTo>
                      <a:cubicBezTo>
                        <a:pt x="3" y="5"/>
                        <a:pt x="3" y="5"/>
                        <a:pt x="3" y="5"/>
                      </a:cubicBezTo>
                      <a:cubicBezTo>
                        <a:pt x="3" y="5"/>
                        <a:pt x="4" y="5"/>
                        <a:pt x="4" y="5"/>
                      </a:cubicBezTo>
                      <a:cubicBezTo>
                        <a:pt x="5" y="5"/>
                        <a:pt x="7" y="4"/>
                        <a:pt x="8" y="4"/>
                      </a:cubicBezTo>
                      <a:cubicBezTo>
                        <a:pt x="14" y="4"/>
                        <a:pt x="14" y="4"/>
                        <a:pt x="14" y="4"/>
                      </a:cubicBezTo>
                      <a:cubicBezTo>
                        <a:pt x="14" y="4"/>
                        <a:pt x="14" y="4"/>
                        <a:pt x="14" y="4"/>
                      </a:cubicBezTo>
                      <a:cubicBezTo>
                        <a:pt x="15" y="4"/>
                        <a:pt x="15" y="4"/>
                        <a:pt x="15" y="4"/>
                      </a:cubicBezTo>
                      <a:cubicBezTo>
                        <a:pt x="16" y="4"/>
                        <a:pt x="17" y="3"/>
                        <a:pt x="17" y="2"/>
                      </a:cubicBezTo>
                      <a:cubicBezTo>
                        <a:pt x="17" y="1"/>
                        <a:pt x="16" y="0"/>
                        <a:pt x="15" y="0"/>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590" name="Freeform 54"/>
                <p:cNvSpPr>
                  <a:spLocks/>
                </p:cNvSpPr>
                <p:nvPr/>
              </p:nvSpPr>
              <p:spPr bwMode="auto">
                <a:xfrm>
                  <a:off x="1773238" y="153987"/>
                  <a:ext cx="53975" cy="12700"/>
                </a:xfrm>
                <a:custGeom>
                  <a:avLst/>
                  <a:gdLst>
                    <a:gd name="T0" fmla="*/ 15 w 17"/>
                    <a:gd name="T1" fmla="*/ 4 h 4"/>
                    <a:gd name="T2" fmla="*/ 15 w 17"/>
                    <a:gd name="T3" fmla="*/ 4 h 4"/>
                    <a:gd name="T4" fmla="*/ 17 w 17"/>
                    <a:gd name="T5" fmla="*/ 2 h 4"/>
                    <a:gd name="T6" fmla="*/ 15 w 17"/>
                    <a:gd name="T7" fmla="*/ 0 h 4"/>
                    <a:gd name="T8" fmla="*/ 15 w 17"/>
                    <a:gd name="T9" fmla="*/ 0 h 4"/>
                    <a:gd name="T10" fmla="*/ 14 w 17"/>
                    <a:gd name="T11" fmla="*/ 0 h 4"/>
                    <a:gd name="T12" fmla="*/ 2 w 17"/>
                    <a:gd name="T13" fmla="*/ 0 h 4"/>
                    <a:gd name="T14" fmla="*/ 0 w 17"/>
                    <a:gd name="T15" fmla="*/ 2 h 4"/>
                    <a:gd name="T16" fmla="*/ 2 w 17"/>
                    <a:gd name="T17" fmla="*/ 4 h 4"/>
                    <a:gd name="T18" fmla="*/ 14 w 17"/>
                    <a:gd name="T19" fmla="*/ 4 h 4"/>
                    <a:gd name="T20" fmla="*/ 15 w 17"/>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4">
                      <a:moveTo>
                        <a:pt x="15" y="4"/>
                      </a:moveTo>
                      <a:cubicBezTo>
                        <a:pt x="15" y="4"/>
                        <a:pt x="15" y="4"/>
                        <a:pt x="15" y="4"/>
                      </a:cubicBezTo>
                      <a:cubicBezTo>
                        <a:pt x="16" y="4"/>
                        <a:pt x="17" y="3"/>
                        <a:pt x="17" y="2"/>
                      </a:cubicBezTo>
                      <a:cubicBezTo>
                        <a:pt x="17" y="1"/>
                        <a:pt x="16" y="0"/>
                        <a:pt x="15" y="0"/>
                      </a:cubicBezTo>
                      <a:cubicBezTo>
                        <a:pt x="15" y="0"/>
                        <a:pt x="15" y="0"/>
                        <a:pt x="15" y="0"/>
                      </a:cubicBezTo>
                      <a:cubicBezTo>
                        <a:pt x="14" y="0"/>
                        <a:pt x="14" y="0"/>
                        <a:pt x="14" y="0"/>
                      </a:cubicBezTo>
                      <a:cubicBezTo>
                        <a:pt x="2" y="0"/>
                        <a:pt x="2" y="0"/>
                        <a:pt x="2" y="0"/>
                      </a:cubicBezTo>
                      <a:cubicBezTo>
                        <a:pt x="1" y="0"/>
                        <a:pt x="0" y="1"/>
                        <a:pt x="0" y="2"/>
                      </a:cubicBezTo>
                      <a:cubicBezTo>
                        <a:pt x="0" y="3"/>
                        <a:pt x="1" y="4"/>
                        <a:pt x="2" y="4"/>
                      </a:cubicBezTo>
                      <a:cubicBezTo>
                        <a:pt x="14" y="4"/>
                        <a:pt x="14" y="4"/>
                        <a:pt x="14" y="4"/>
                      </a:cubicBezTo>
                      <a:cubicBezTo>
                        <a:pt x="15" y="4"/>
                        <a:pt x="15" y="4"/>
                        <a:pt x="15" y="4"/>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591" name="Freeform 55"/>
                <p:cNvSpPr>
                  <a:spLocks/>
                </p:cNvSpPr>
                <p:nvPr/>
              </p:nvSpPr>
              <p:spPr bwMode="auto">
                <a:xfrm>
                  <a:off x="1700213" y="153987"/>
                  <a:ext cx="53975" cy="12700"/>
                </a:xfrm>
                <a:custGeom>
                  <a:avLst/>
                  <a:gdLst>
                    <a:gd name="T0" fmla="*/ 15 w 17"/>
                    <a:gd name="T1" fmla="*/ 0 h 4"/>
                    <a:gd name="T2" fmla="*/ 14 w 17"/>
                    <a:gd name="T3" fmla="*/ 0 h 4"/>
                    <a:gd name="T4" fmla="*/ 14 w 17"/>
                    <a:gd name="T5" fmla="*/ 0 h 4"/>
                    <a:gd name="T6" fmla="*/ 2 w 17"/>
                    <a:gd name="T7" fmla="*/ 0 h 4"/>
                    <a:gd name="T8" fmla="*/ 0 w 17"/>
                    <a:gd name="T9" fmla="*/ 2 h 4"/>
                    <a:gd name="T10" fmla="*/ 2 w 17"/>
                    <a:gd name="T11" fmla="*/ 4 h 4"/>
                    <a:gd name="T12" fmla="*/ 14 w 17"/>
                    <a:gd name="T13" fmla="*/ 4 h 4"/>
                    <a:gd name="T14" fmla="*/ 14 w 17"/>
                    <a:gd name="T15" fmla="*/ 4 h 4"/>
                    <a:gd name="T16" fmla="*/ 15 w 17"/>
                    <a:gd name="T17" fmla="*/ 4 h 4"/>
                    <a:gd name="T18" fmla="*/ 17 w 17"/>
                    <a:gd name="T19" fmla="*/ 2 h 4"/>
                    <a:gd name="T20" fmla="*/ 15 w 1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4">
                      <a:moveTo>
                        <a:pt x="15" y="0"/>
                      </a:moveTo>
                      <a:cubicBezTo>
                        <a:pt x="14" y="0"/>
                        <a:pt x="14" y="0"/>
                        <a:pt x="14" y="0"/>
                      </a:cubicBezTo>
                      <a:cubicBezTo>
                        <a:pt x="14" y="0"/>
                        <a:pt x="14" y="0"/>
                        <a:pt x="14" y="0"/>
                      </a:cubicBezTo>
                      <a:cubicBezTo>
                        <a:pt x="2" y="0"/>
                        <a:pt x="2" y="0"/>
                        <a:pt x="2" y="0"/>
                      </a:cubicBezTo>
                      <a:cubicBezTo>
                        <a:pt x="1" y="0"/>
                        <a:pt x="0" y="1"/>
                        <a:pt x="0" y="2"/>
                      </a:cubicBezTo>
                      <a:cubicBezTo>
                        <a:pt x="0" y="3"/>
                        <a:pt x="1" y="4"/>
                        <a:pt x="2" y="4"/>
                      </a:cubicBezTo>
                      <a:cubicBezTo>
                        <a:pt x="14" y="4"/>
                        <a:pt x="14" y="4"/>
                        <a:pt x="14" y="4"/>
                      </a:cubicBezTo>
                      <a:cubicBezTo>
                        <a:pt x="14" y="4"/>
                        <a:pt x="14" y="4"/>
                        <a:pt x="14" y="4"/>
                      </a:cubicBezTo>
                      <a:cubicBezTo>
                        <a:pt x="15" y="4"/>
                        <a:pt x="15" y="4"/>
                        <a:pt x="15" y="4"/>
                      </a:cubicBezTo>
                      <a:cubicBezTo>
                        <a:pt x="16" y="4"/>
                        <a:pt x="17" y="3"/>
                        <a:pt x="17" y="2"/>
                      </a:cubicBezTo>
                      <a:cubicBezTo>
                        <a:pt x="17" y="1"/>
                        <a:pt x="16" y="0"/>
                        <a:pt x="15" y="0"/>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592" name="Freeform 56"/>
                <p:cNvSpPr>
                  <a:spLocks/>
                </p:cNvSpPr>
                <p:nvPr/>
              </p:nvSpPr>
              <p:spPr bwMode="auto">
                <a:xfrm>
                  <a:off x="1928813" y="-4763"/>
                  <a:ext cx="53975" cy="25400"/>
                </a:xfrm>
                <a:custGeom>
                  <a:avLst/>
                  <a:gdLst>
                    <a:gd name="T0" fmla="*/ 16 w 17"/>
                    <a:gd name="T1" fmla="*/ 3 h 8"/>
                    <a:gd name="T2" fmla="*/ 15 w 17"/>
                    <a:gd name="T3" fmla="*/ 3 h 8"/>
                    <a:gd name="T4" fmla="*/ 4 w 17"/>
                    <a:gd name="T5" fmla="*/ 0 h 8"/>
                    <a:gd name="T6" fmla="*/ 3 w 17"/>
                    <a:gd name="T7" fmla="*/ 0 h 8"/>
                    <a:gd name="T8" fmla="*/ 3 w 17"/>
                    <a:gd name="T9" fmla="*/ 0 h 8"/>
                    <a:gd name="T10" fmla="*/ 0 w 17"/>
                    <a:gd name="T11" fmla="*/ 2 h 8"/>
                    <a:gd name="T12" fmla="*/ 3 w 17"/>
                    <a:gd name="T13" fmla="*/ 5 h 8"/>
                    <a:gd name="T14" fmla="*/ 3 w 17"/>
                    <a:gd name="T15" fmla="*/ 5 h 8"/>
                    <a:gd name="T16" fmla="*/ 4 w 17"/>
                    <a:gd name="T17" fmla="*/ 5 h 8"/>
                    <a:gd name="T18" fmla="*/ 13 w 17"/>
                    <a:gd name="T19" fmla="*/ 7 h 8"/>
                    <a:gd name="T20" fmla="*/ 14 w 17"/>
                    <a:gd name="T21" fmla="*/ 7 h 8"/>
                    <a:gd name="T22" fmla="*/ 15 w 17"/>
                    <a:gd name="T23" fmla="*/ 8 h 8"/>
                    <a:gd name="T24" fmla="*/ 17 w 17"/>
                    <a:gd name="T25" fmla="*/ 6 h 8"/>
                    <a:gd name="T26" fmla="*/ 16 w 17"/>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8">
                      <a:moveTo>
                        <a:pt x="16" y="3"/>
                      </a:moveTo>
                      <a:cubicBezTo>
                        <a:pt x="16" y="3"/>
                        <a:pt x="15" y="3"/>
                        <a:pt x="15" y="3"/>
                      </a:cubicBezTo>
                      <a:cubicBezTo>
                        <a:pt x="11" y="1"/>
                        <a:pt x="8" y="0"/>
                        <a:pt x="4" y="0"/>
                      </a:cubicBezTo>
                      <a:cubicBezTo>
                        <a:pt x="3" y="0"/>
                        <a:pt x="3" y="0"/>
                        <a:pt x="3" y="0"/>
                      </a:cubicBezTo>
                      <a:cubicBezTo>
                        <a:pt x="3" y="0"/>
                        <a:pt x="3" y="0"/>
                        <a:pt x="3" y="0"/>
                      </a:cubicBezTo>
                      <a:cubicBezTo>
                        <a:pt x="1" y="0"/>
                        <a:pt x="0" y="1"/>
                        <a:pt x="0" y="2"/>
                      </a:cubicBezTo>
                      <a:cubicBezTo>
                        <a:pt x="0" y="4"/>
                        <a:pt x="1" y="5"/>
                        <a:pt x="3" y="5"/>
                      </a:cubicBezTo>
                      <a:cubicBezTo>
                        <a:pt x="3" y="5"/>
                        <a:pt x="3" y="5"/>
                        <a:pt x="3" y="5"/>
                      </a:cubicBezTo>
                      <a:cubicBezTo>
                        <a:pt x="4" y="5"/>
                        <a:pt x="4" y="5"/>
                        <a:pt x="4" y="5"/>
                      </a:cubicBezTo>
                      <a:cubicBezTo>
                        <a:pt x="7" y="5"/>
                        <a:pt x="10" y="6"/>
                        <a:pt x="13" y="7"/>
                      </a:cubicBezTo>
                      <a:cubicBezTo>
                        <a:pt x="14" y="7"/>
                        <a:pt x="14" y="7"/>
                        <a:pt x="14" y="7"/>
                      </a:cubicBezTo>
                      <a:cubicBezTo>
                        <a:pt x="14" y="8"/>
                        <a:pt x="14" y="8"/>
                        <a:pt x="15" y="8"/>
                      </a:cubicBezTo>
                      <a:cubicBezTo>
                        <a:pt x="16" y="8"/>
                        <a:pt x="16" y="7"/>
                        <a:pt x="17" y="6"/>
                      </a:cubicBezTo>
                      <a:cubicBezTo>
                        <a:pt x="17" y="5"/>
                        <a:pt x="17" y="4"/>
                        <a:pt x="16" y="3"/>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593" name="Freeform 57"/>
                <p:cNvSpPr>
                  <a:spLocks/>
                </p:cNvSpPr>
                <p:nvPr/>
              </p:nvSpPr>
              <p:spPr bwMode="auto">
                <a:xfrm>
                  <a:off x="1919288" y="147637"/>
                  <a:ext cx="53975" cy="19050"/>
                </a:xfrm>
                <a:custGeom>
                  <a:avLst/>
                  <a:gdLst>
                    <a:gd name="T0" fmla="*/ 15 w 17"/>
                    <a:gd name="T1" fmla="*/ 0 h 6"/>
                    <a:gd name="T2" fmla="*/ 14 w 17"/>
                    <a:gd name="T3" fmla="*/ 0 h 6"/>
                    <a:gd name="T4" fmla="*/ 14 w 17"/>
                    <a:gd name="T5" fmla="*/ 0 h 6"/>
                    <a:gd name="T6" fmla="*/ 13 w 17"/>
                    <a:gd name="T7" fmla="*/ 1 h 6"/>
                    <a:gd name="T8" fmla="*/ 6 w 17"/>
                    <a:gd name="T9" fmla="*/ 2 h 6"/>
                    <a:gd name="T10" fmla="*/ 2 w 17"/>
                    <a:gd name="T11" fmla="*/ 2 h 6"/>
                    <a:gd name="T12" fmla="*/ 0 w 17"/>
                    <a:gd name="T13" fmla="*/ 4 h 6"/>
                    <a:gd name="T14" fmla="*/ 2 w 17"/>
                    <a:gd name="T15" fmla="*/ 6 h 6"/>
                    <a:gd name="T16" fmla="*/ 6 w 17"/>
                    <a:gd name="T17" fmla="*/ 6 h 6"/>
                    <a:gd name="T18" fmla="*/ 15 w 17"/>
                    <a:gd name="T19" fmla="*/ 5 h 6"/>
                    <a:gd name="T20" fmla="*/ 15 w 17"/>
                    <a:gd name="T21" fmla="*/ 5 h 6"/>
                    <a:gd name="T22" fmla="*/ 16 w 17"/>
                    <a:gd name="T23" fmla="*/ 5 h 6"/>
                    <a:gd name="T24" fmla="*/ 17 w 17"/>
                    <a:gd name="T25" fmla="*/ 3 h 6"/>
                    <a:gd name="T26" fmla="*/ 17 w 17"/>
                    <a:gd name="T27" fmla="*/ 1 h 6"/>
                    <a:gd name="T28" fmla="*/ 15 w 17"/>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6">
                      <a:moveTo>
                        <a:pt x="15" y="0"/>
                      </a:moveTo>
                      <a:cubicBezTo>
                        <a:pt x="14" y="0"/>
                        <a:pt x="14" y="0"/>
                        <a:pt x="14" y="0"/>
                      </a:cubicBezTo>
                      <a:cubicBezTo>
                        <a:pt x="14" y="0"/>
                        <a:pt x="14" y="0"/>
                        <a:pt x="14" y="0"/>
                      </a:cubicBezTo>
                      <a:cubicBezTo>
                        <a:pt x="13" y="1"/>
                        <a:pt x="13" y="1"/>
                        <a:pt x="13" y="1"/>
                      </a:cubicBezTo>
                      <a:cubicBezTo>
                        <a:pt x="11" y="1"/>
                        <a:pt x="8" y="2"/>
                        <a:pt x="6" y="2"/>
                      </a:cubicBezTo>
                      <a:cubicBezTo>
                        <a:pt x="2" y="2"/>
                        <a:pt x="2" y="2"/>
                        <a:pt x="2" y="2"/>
                      </a:cubicBezTo>
                      <a:cubicBezTo>
                        <a:pt x="1" y="2"/>
                        <a:pt x="0" y="3"/>
                        <a:pt x="0" y="4"/>
                      </a:cubicBezTo>
                      <a:cubicBezTo>
                        <a:pt x="0" y="5"/>
                        <a:pt x="1" y="6"/>
                        <a:pt x="2" y="6"/>
                      </a:cubicBezTo>
                      <a:cubicBezTo>
                        <a:pt x="6" y="6"/>
                        <a:pt x="6" y="6"/>
                        <a:pt x="6" y="6"/>
                      </a:cubicBezTo>
                      <a:cubicBezTo>
                        <a:pt x="9" y="6"/>
                        <a:pt x="12" y="6"/>
                        <a:pt x="15" y="5"/>
                      </a:cubicBezTo>
                      <a:cubicBezTo>
                        <a:pt x="15" y="5"/>
                        <a:pt x="15" y="5"/>
                        <a:pt x="15" y="5"/>
                      </a:cubicBezTo>
                      <a:cubicBezTo>
                        <a:pt x="16" y="5"/>
                        <a:pt x="16" y="5"/>
                        <a:pt x="16" y="5"/>
                      </a:cubicBezTo>
                      <a:cubicBezTo>
                        <a:pt x="16" y="4"/>
                        <a:pt x="17" y="4"/>
                        <a:pt x="17" y="3"/>
                      </a:cubicBezTo>
                      <a:cubicBezTo>
                        <a:pt x="17" y="3"/>
                        <a:pt x="17" y="2"/>
                        <a:pt x="17" y="1"/>
                      </a:cubicBezTo>
                      <a:cubicBezTo>
                        <a:pt x="17" y="1"/>
                        <a:pt x="16" y="0"/>
                        <a:pt x="15" y="0"/>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594" name="Freeform 58"/>
                <p:cNvSpPr>
                  <a:spLocks/>
                </p:cNvSpPr>
                <p:nvPr/>
              </p:nvSpPr>
              <p:spPr bwMode="auto">
                <a:xfrm>
                  <a:off x="1846263" y="153987"/>
                  <a:ext cx="57150" cy="12700"/>
                </a:xfrm>
                <a:custGeom>
                  <a:avLst/>
                  <a:gdLst>
                    <a:gd name="T0" fmla="*/ 15 w 18"/>
                    <a:gd name="T1" fmla="*/ 0 h 4"/>
                    <a:gd name="T2" fmla="*/ 15 w 18"/>
                    <a:gd name="T3" fmla="*/ 0 h 4"/>
                    <a:gd name="T4" fmla="*/ 14 w 18"/>
                    <a:gd name="T5" fmla="*/ 0 h 4"/>
                    <a:gd name="T6" fmla="*/ 2 w 18"/>
                    <a:gd name="T7" fmla="*/ 0 h 4"/>
                    <a:gd name="T8" fmla="*/ 0 w 18"/>
                    <a:gd name="T9" fmla="*/ 2 h 4"/>
                    <a:gd name="T10" fmla="*/ 2 w 18"/>
                    <a:gd name="T11" fmla="*/ 4 h 4"/>
                    <a:gd name="T12" fmla="*/ 14 w 18"/>
                    <a:gd name="T13" fmla="*/ 4 h 4"/>
                    <a:gd name="T14" fmla="*/ 15 w 18"/>
                    <a:gd name="T15" fmla="*/ 4 h 4"/>
                    <a:gd name="T16" fmla="*/ 15 w 18"/>
                    <a:gd name="T17" fmla="*/ 4 h 4"/>
                    <a:gd name="T18" fmla="*/ 18 w 18"/>
                    <a:gd name="T19" fmla="*/ 2 h 4"/>
                    <a:gd name="T20" fmla="*/ 15 w 18"/>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4">
                      <a:moveTo>
                        <a:pt x="15" y="0"/>
                      </a:moveTo>
                      <a:cubicBezTo>
                        <a:pt x="15" y="0"/>
                        <a:pt x="15" y="0"/>
                        <a:pt x="15" y="0"/>
                      </a:cubicBezTo>
                      <a:cubicBezTo>
                        <a:pt x="14" y="0"/>
                        <a:pt x="14" y="0"/>
                        <a:pt x="14" y="0"/>
                      </a:cubicBezTo>
                      <a:cubicBezTo>
                        <a:pt x="2" y="0"/>
                        <a:pt x="2" y="0"/>
                        <a:pt x="2" y="0"/>
                      </a:cubicBezTo>
                      <a:cubicBezTo>
                        <a:pt x="1" y="0"/>
                        <a:pt x="0" y="1"/>
                        <a:pt x="0" y="2"/>
                      </a:cubicBezTo>
                      <a:cubicBezTo>
                        <a:pt x="0" y="3"/>
                        <a:pt x="1" y="4"/>
                        <a:pt x="2" y="4"/>
                      </a:cubicBezTo>
                      <a:cubicBezTo>
                        <a:pt x="14" y="4"/>
                        <a:pt x="14" y="4"/>
                        <a:pt x="14" y="4"/>
                      </a:cubicBezTo>
                      <a:cubicBezTo>
                        <a:pt x="15" y="4"/>
                        <a:pt x="15" y="4"/>
                        <a:pt x="15" y="4"/>
                      </a:cubicBezTo>
                      <a:cubicBezTo>
                        <a:pt x="15" y="4"/>
                        <a:pt x="15" y="4"/>
                        <a:pt x="15" y="4"/>
                      </a:cubicBezTo>
                      <a:cubicBezTo>
                        <a:pt x="16" y="4"/>
                        <a:pt x="18" y="3"/>
                        <a:pt x="18" y="2"/>
                      </a:cubicBezTo>
                      <a:cubicBezTo>
                        <a:pt x="18" y="1"/>
                        <a:pt x="16" y="0"/>
                        <a:pt x="15" y="0"/>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595" name="Freeform 59"/>
                <p:cNvSpPr>
                  <a:spLocks noEditPoints="1"/>
                </p:cNvSpPr>
                <p:nvPr/>
              </p:nvSpPr>
              <p:spPr bwMode="auto">
                <a:xfrm>
                  <a:off x="1820863" y="-106363"/>
                  <a:ext cx="92075" cy="117475"/>
                </a:xfrm>
                <a:custGeom>
                  <a:avLst/>
                  <a:gdLst>
                    <a:gd name="T0" fmla="*/ 29 w 29"/>
                    <a:gd name="T1" fmla="*/ 34 h 37"/>
                    <a:gd name="T2" fmla="*/ 26 w 29"/>
                    <a:gd name="T3" fmla="*/ 32 h 37"/>
                    <a:gd name="T4" fmla="*/ 21 w 29"/>
                    <a:gd name="T5" fmla="*/ 32 h 37"/>
                    <a:gd name="T6" fmla="*/ 29 w 29"/>
                    <a:gd name="T7" fmla="*/ 14 h 37"/>
                    <a:gd name="T8" fmla="*/ 14 w 29"/>
                    <a:gd name="T9" fmla="*/ 0 h 37"/>
                    <a:gd name="T10" fmla="*/ 0 w 29"/>
                    <a:gd name="T11" fmla="*/ 14 h 37"/>
                    <a:gd name="T12" fmla="*/ 13 w 29"/>
                    <a:gd name="T13" fmla="*/ 36 h 37"/>
                    <a:gd name="T14" fmla="*/ 14 w 29"/>
                    <a:gd name="T15" fmla="*/ 37 h 37"/>
                    <a:gd name="T16" fmla="*/ 15 w 29"/>
                    <a:gd name="T17" fmla="*/ 37 h 37"/>
                    <a:gd name="T18" fmla="*/ 15 w 29"/>
                    <a:gd name="T19" fmla="*/ 37 h 37"/>
                    <a:gd name="T20" fmla="*/ 26 w 29"/>
                    <a:gd name="T21" fmla="*/ 37 h 37"/>
                    <a:gd name="T22" fmla="*/ 29 w 29"/>
                    <a:gd name="T23" fmla="*/ 34 h 37"/>
                    <a:gd name="T24" fmla="*/ 10 w 29"/>
                    <a:gd name="T25" fmla="*/ 27 h 37"/>
                    <a:gd name="T26" fmla="*/ 4 w 29"/>
                    <a:gd name="T27" fmla="*/ 14 h 37"/>
                    <a:gd name="T28" fmla="*/ 14 w 29"/>
                    <a:gd name="T29" fmla="*/ 4 h 37"/>
                    <a:gd name="T30" fmla="*/ 25 w 29"/>
                    <a:gd name="T31" fmla="*/ 14 h 37"/>
                    <a:gd name="T32" fmla="*/ 19 w 29"/>
                    <a:gd name="T33" fmla="*/ 27 h 37"/>
                    <a:gd name="T34" fmla="*/ 14 w 29"/>
                    <a:gd name="T35" fmla="*/ 31 h 37"/>
                    <a:gd name="T36" fmla="*/ 10 w 29"/>
                    <a:gd name="T37"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37">
                      <a:moveTo>
                        <a:pt x="29" y="34"/>
                      </a:moveTo>
                      <a:cubicBezTo>
                        <a:pt x="29" y="33"/>
                        <a:pt x="28" y="32"/>
                        <a:pt x="26" y="32"/>
                      </a:cubicBezTo>
                      <a:cubicBezTo>
                        <a:pt x="21" y="32"/>
                        <a:pt x="21" y="32"/>
                        <a:pt x="21" y="32"/>
                      </a:cubicBezTo>
                      <a:cubicBezTo>
                        <a:pt x="25" y="28"/>
                        <a:pt x="29" y="22"/>
                        <a:pt x="29" y="14"/>
                      </a:cubicBezTo>
                      <a:cubicBezTo>
                        <a:pt x="29" y="6"/>
                        <a:pt x="23" y="0"/>
                        <a:pt x="14" y="0"/>
                      </a:cubicBezTo>
                      <a:cubicBezTo>
                        <a:pt x="6" y="0"/>
                        <a:pt x="0" y="6"/>
                        <a:pt x="0" y="14"/>
                      </a:cubicBezTo>
                      <a:cubicBezTo>
                        <a:pt x="0" y="28"/>
                        <a:pt x="13" y="36"/>
                        <a:pt x="13" y="36"/>
                      </a:cubicBezTo>
                      <a:cubicBezTo>
                        <a:pt x="14" y="37"/>
                        <a:pt x="14" y="37"/>
                        <a:pt x="14" y="37"/>
                      </a:cubicBezTo>
                      <a:cubicBezTo>
                        <a:pt x="15" y="37"/>
                        <a:pt x="15" y="37"/>
                        <a:pt x="15" y="37"/>
                      </a:cubicBezTo>
                      <a:cubicBezTo>
                        <a:pt x="15" y="37"/>
                        <a:pt x="15" y="37"/>
                        <a:pt x="15" y="37"/>
                      </a:cubicBezTo>
                      <a:cubicBezTo>
                        <a:pt x="26" y="37"/>
                        <a:pt x="26" y="37"/>
                        <a:pt x="26" y="37"/>
                      </a:cubicBezTo>
                      <a:cubicBezTo>
                        <a:pt x="28" y="37"/>
                        <a:pt x="29" y="36"/>
                        <a:pt x="29" y="34"/>
                      </a:cubicBezTo>
                      <a:moveTo>
                        <a:pt x="10" y="27"/>
                      </a:moveTo>
                      <a:cubicBezTo>
                        <a:pt x="6" y="23"/>
                        <a:pt x="4" y="19"/>
                        <a:pt x="4" y="14"/>
                      </a:cubicBezTo>
                      <a:cubicBezTo>
                        <a:pt x="4" y="9"/>
                        <a:pt x="9" y="4"/>
                        <a:pt x="14" y="4"/>
                      </a:cubicBezTo>
                      <a:cubicBezTo>
                        <a:pt x="20" y="4"/>
                        <a:pt x="25" y="9"/>
                        <a:pt x="25" y="14"/>
                      </a:cubicBezTo>
                      <a:cubicBezTo>
                        <a:pt x="25" y="19"/>
                        <a:pt x="23" y="23"/>
                        <a:pt x="19" y="27"/>
                      </a:cubicBezTo>
                      <a:cubicBezTo>
                        <a:pt x="17" y="29"/>
                        <a:pt x="16" y="31"/>
                        <a:pt x="14" y="31"/>
                      </a:cubicBezTo>
                      <a:cubicBezTo>
                        <a:pt x="13" y="31"/>
                        <a:pt x="12" y="29"/>
                        <a:pt x="10" y="27"/>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596" name="Freeform 60"/>
                <p:cNvSpPr>
                  <a:spLocks/>
                </p:cNvSpPr>
                <p:nvPr/>
              </p:nvSpPr>
              <p:spPr bwMode="auto">
                <a:xfrm>
                  <a:off x="1992313" y="26987"/>
                  <a:ext cx="31750" cy="50800"/>
                </a:xfrm>
                <a:custGeom>
                  <a:avLst/>
                  <a:gdLst>
                    <a:gd name="T0" fmla="*/ 10 w 10"/>
                    <a:gd name="T1" fmla="*/ 12 h 16"/>
                    <a:gd name="T2" fmla="*/ 5 w 10"/>
                    <a:gd name="T3" fmla="*/ 2 h 16"/>
                    <a:gd name="T4" fmla="*/ 5 w 10"/>
                    <a:gd name="T5" fmla="*/ 1 h 16"/>
                    <a:gd name="T6" fmla="*/ 4 w 10"/>
                    <a:gd name="T7" fmla="*/ 1 h 16"/>
                    <a:gd name="T8" fmla="*/ 3 w 10"/>
                    <a:gd name="T9" fmla="*/ 0 h 16"/>
                    <a:gd name="T10" fmla="*/ 1 w 10"/>
                    <a:gd name="T11" fmla="*/ 0 h 16"/>
                    <a:gd name="T12" fmla="*/ 0 w 10"/>
                    <a:gd name="T13" fmla="*/ 2 h 16"/>
                    <a:gd name="T14" fmla="*/ 1 w 10"/>
                    <a:gd name="T15" fmla="*/ 3 h 16"/>
                    <a:gd name="T16" fmla="*/ 1 w 10"/>
                    <a:gd name="T17" fmla="*/ 4 h 16"/>
                    <a:gd name="T18" fmla="*/ 1 w 10"/>
                    <a:gd name="T19" fmla="*/ 4 h 16"/>
                    <a:gd name="T20" fmla="*/ 5 w 10"/>
                    <a:gd name="T21" fmla="*/ 13 h 16"/>
                    <a:gd name="T22" fmla="*/ 5 w 10"/>
                    <a:gd name="T23" fmla="*/ 14 h 16"/>
                    <a:gd name="T24" fmla="*/ 7 w 10"/>
                    <a:gd name="T25" fmla="*/ 16 h 16"/>
                    <a:gd name="T26" fmla="*/ 8 w 10"/>
                    <a:gd name="T27" fmla="*/ 16 h 16"/>
                    <a:gd name="T28" fmla="*/ 10 w 10"/>
                    <a:gd name="T29" fmla="*/ 13 h 16"/>
                    <a:gd name="T30" fmla="*/ 10 w 10"/>
                    <a:gd name="T31"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16">
                      <a:moveTo>
                        <a:pt x="10" y="12"/>
                      </a:moveTo>
                      <a:cubicBezTo>
                        <a:pt x="9" y="8"/>
                        <a:pt x="7" y="5"/>
                        <a:pt x="5" y="2"/>
                      </a:cubicBezTo>
                      <a:cubicBezTo>
                        <a:pt x="5" y="1"/>
                        <a:pt x="5" y="1"/>
                        <a:pt x="5" y="1"/>
                      </a:cubicBezTo>
                      <a:cubicBezTo>
                        <a:pt x="4" y="1"/>
                        <a:pt x="4" y="1"/>
                        <a:pt x="4" y="1"/>
                      </a:cubicBezTo>
                      <a:cubicBezTo>
                        <a:pt x="4" y="0"/>
                        <a:pt x="3" y="0"/>
                        <a:pt x="3" y="0"/>
                      </a:cubicBezTo>
                      <a:cubicBezTo>
                        <a:pt x="2" y="0"/>
                        <a:pt x="2" y="0"/>
                        <a:pt x="1" y="0"/>
                      </a:cubicBezTo>
                      <a:cubicBezTo>
                        <a:pt x="1" y="1"/>
                        <a:pt x="0" y="1"/>
                        <a:pt x="0" y="2"/>
                      </a:cubicBezTo>
                      <a:cubicBezTo>
                        <a:pt x="0" y="2"/>
                        <a:pt x="0" y="3"/>
                        <a:pt x="1" y="3"/>
                      </a:cubicBezTo>
                      <a:cubicBezTo>
                        <a:pt x="1" y="4"/>
                        <a:pt x="1" y="4"/>
                        <a:pt x="1" y="4"/>
                      </a:cubicBezTo>
                      <a:cubicBezTo>
                        <a:pt x="1" y="4"/>
                        <a:pt x="1" y="4"/>
                        <a:pt x="1" y="4"/>
                      </a:cubicBezTo>
                      <a:cubicBezTo>
                        <a:pt x="3" y="7"/>
                        <a:pt x="4" y="10"/>
                        <a:pt x="5" y="13"/>
                      </a:cubicBezTo>
                      <a:cubicBezTo>
                        <a:pt x="5" y="13"/>
                        <a:pt x="5" y="14"/>
                        <a:pt x="5" y="14"/>
                      </a:cubicBezTo>
                      <a:cubicBezTo>
                        <a:pt x="5" y="15"/>
                        <a:pt x="6" y="16"/>
                        <a:pt x="7" y="16"/>
                      </a:cubicBezTo>
                      <a:cubicBezTo>
                        <a:pt x="8" y="16"/>
                        <a:pt x="8" y="16"/>
                        <a:pt x="8" y="16"/>
                      </a:cubicBezTo>
                      <a:cubicBezTo>
                        <a:pt x="9" y="16"/>
                        <a:pt x="10" y="15"/>
                        <a:pt x="10" y="13"/>
                      </a:cubicBezTo>
                      <a:cubicBezTo>
                        <a:pt x="10" y="13"/>
                        <a:pt x="10" y="12"/>
                        <a:pt x="10" y="12"/>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597" name="Freeform 61"/>
                <p:cNvSpPr>
                  <a:spLocks/>
                </p:cNvSpPr>
                <p:nvPr/>
              </p:nvSpPr>
              <p:spPr bwMode="auto">
                <a:xfrm>
                  <a:off x="1985963" y="93662"/>
                  <a:ext cx="34925" cy="50800"/>
                </a:xfrm>
                <a:custGeom>
                  <a:avLst/>
                  <a:gdLst>
                    <a:gd name="T0" fmla="*/ 9 w 11"/>
                    <a:gd name="T1" fmla="*/ 1 h 16"/>
                    <a:gd name="T2" fmla="*/ 9 w 11"/>
                    <a:gd name="T3" fmla="*/ 0 h 16"/>
                    <a:gd name="T4" fmla="*/ 7 w 11"/>
                    <a:gd name="T5" fmla="*/ 2 h 16"/>
                    <a:gd name="T6" fmla="*/ 7 w 11"/>
                    <a:gd name="T7" fmla="*/ 3 h 16"/>
                    <a:gd name="T8" fmla="*/ 6 w 11"/>
                    <a:gd name="T9" fmla="*/ 3 h 16"/>
                    <a:gd name="T10" fmla="*/ 2 w 11"/>
                    <a:gd name="T11" fmla="*/ 11 h 16"/>
                    <a:gd name="T12" fmla="*/ 2 w 11"/>
                    <a:gd name="T13" fmla="*/ 11 h 16"/>
                    <a:gd name="T14" fmla="*/ 1 w 11"/>
                    <a:gd name="T15" fmla="*/ 12 h 16"/>
                    <a:gd name="T16" fmla="*/ 1 w 11"/>
                    <a:gd name="T17" fmla="*/ 15 h 16"/>
                    <a:gd name="T18" fmla="*/ 3 w 11"/>
                    <a:gd name="T19" fmla="*/ 16 h 16"/>
                    <a:gd name="T20" fmla="*/ 4 w 11"/>
                    <a:gd name="T21" fmla="*/ 15 h 16"/>
                    <a:gd name="T22" fmla="*/ 5 w 11"/>
                    <a:gd name="T23" fmla="*/ 14 h 16"/>
                    <a:gd name="T24" fmla="*/ 11 w 11"/>
                    <a:gd name="T25" fmla="*/ 5 h 16"/>
                    <a:gd name="T26" fmla="*/ 11 w 11"/>
                    <a:gd name="T27" fmla="*/ 4 h 16"/>
                    <a:gd name="T28" fmla="*/ 11 w 11"/>
                    <a:gd name="T29" fmla="*/ 3 h 16"/>
                    <a:gd name="T30" fmla="*/ 11 w 11"/>
                    <a:gd name="T31" fmla="*/ 2 h 16"/>
                    <a:gd name="T32" fmla="*/ 9 w 11"/>
                    <a:gd name="T33"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6">
                      <a:moveTo>
                        <a:pt x="9" y="1"/>
                      </a:moveTo>
                      <a:cubicBezTo>
                        <a:pt x="9" y="0"/>
                        <a:pt x="9" y="0"/>
                        <a:pt x="9" y="0"/>
                      </a:cubicBezTo>
                      <a:cubicBezTo>
                        <a:pt x="8" y="0"/>
                        <a:pt x="7" y="1"/>
                        <a:pt x="7" y="2"/>
                      </a:cubicBezTo>
                      <a:cubicBezTo>
                        <a:pt x="7" y="3"/>
                        <a:pt x="7" y="3"/>
                        <a:pt x="7" y="3"/>
                      </a:cubicBezTo>
                      <a:cubicBezTo>
                        <a:pt x="6" y="3"/>
                        <a:pt x="6" y="3"/>
                        <a:pt x="6" y="3"/>
                      </a:cubicBezTo>
                      <a:cubicBezTo>
                        <a:pt x="5" y="6"/>
                        <a:pt x="4" y="9"/>
                        <a:pt x="2" y="11"/>
                      </a:cubicBezTo>
                      <a:cubicBezTo>
                        <a:pt x="2" y="11"/>
                        <a:pt x="2" y="11"/>
                        <a:pt x="2" y="11"/>
                      </a:cubicBezTo>
                      <a:cubicBezTo>
                        <a:pt x="1" y="12"/>
                        <a:pt x="1" y="12"/>
                        <a:pt x="1" y="12"/>
                      </a:cubicBezTo>
                      <a:cubicBezTo>
                        <a:pt x="0" y="13"/>
                        <a:pt x="0" y="14"/>
                        <a:pt x="1" y="15"/>
                      </a:cubicBezTo>
                      <a:cubicBezTo>
                        <a:pt x="1" y="16"/>
                        <a:pt x="2" y="16"/>
                        <a:pt x="3" y="16"/>
                      </a:cubicBezTo>
                      <a:cubicBezTo>
                        <a:pt x="3" y="16"/>
                        <a:pt x="4" y="16"/>
                        <a:pt x="4" y="15"/>
                      </a:cubicBezTo>
                      <a:cubicBezTo>
                        <a:pt x="5" y="14"/>
                        <a:pt x="5" y="14"/>
                        <a:pt x="5" y="14"/>
                      </a:cubicBezTo>
                      <a:cubicBezTo>
                        <a:pt x="8" y="12"/>
                        <a:pt x="10" y="8"/>
                        <a:pt x="11" y="5"/>
                      </a:cubicBezTo>
                      <a:cubicBezTo>
                        <a:pt x="11" y="4"/>
                        <a:pt x="11" y="4"/>
                        <a:pt x="11" y="4"/>
                      </a:cubicBezTo>
                      <a:cubicBezTo>
                        <a:pt x="11" y="3"/>
                        <a:pt x="11" y="3"/>
                        <a:pt x="11" y="3"/>
                      </a:cubicBezTo>
                      <a:cubicBezTo>
                        <a:pt x="11" y="3"/>
                        <a:pt x="11" y="2"/>
                        <a:pt x="11" y="2"/>
                      </a:cubicBezTo>
                      <a:cubicBezTo>
                        <a:pt x="11" y="1"/>
                        <a:pt x="10" y="1"/>
                        <a:pt x="9" y="1"/>
                      </a:cubicBezTo>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grpSp>
          <p:sp>
            <p:nvSpPr>
              <p:cNvPr id="582" name="Freeform 5"/>
              <p:cNvSpPr>
                <a:spLocks/>
              </p:cNvSpPr>
              <p:nvPr/>
            </p:nvSpPr>
            <p:spPr bwMode="auto">
              <a:xfrm>
                <a:off x="1519653" y="3569209"/>
                <a:ext cx="47751" cy="171044"/>
              </a:xfrm>
              <a:custGeom>
                <a:avLst/>
                <a:gdLst>
                  <a:gd name="T0" fmla="*/ 26 w 51"/>
                  <a:gd name="T1" fmla="*/ 0 h 182"/>
                  <a:gd name="T2" fmla="*/ 0 w 51"/>
                  <a:gd name="T3" fmla="*/ 26 h 182"/>
                  <a:gd name="T4" fmla="*/ 0 w 51"/>
                  <a:gd name="T5" fmla="*/ 156 h 182"/>
                  <a:gd name="T6" fmla="*/ 26 w 51"/>
                  <a:gd name="T7" fmla="*/ 182 h 182"/>
                  <a:gd name="T8" fmla="*/ 51 w 51"/>
                  <a:gd name="T9" fmla="*/ 156 h 182"/>
                  <a:gd name="T10" fmla="*/ 51 w 51"/>
                  <a:gd name="T11" fmla="*/ 26 h 182"/>
                  <a:gd name="T12" fmla="*/ 26 w 51"/>
                  <a:gd name="T13" fmla="*/ 0 h 182"/>
                </a:gdLst>
                <a:ahLst/>
                <a:cxnLst>
                  <a:cxn ang="0">
                    <a:pos x="T0" y="T1"/>
                  </a:cxn>
                  <a:cxn ang="0">
                    <a:pos x="T2" y="T3"/>
                  </a:cxn>
                  <a:cxn ang="0">
                    <a:pos x="T4" y="T5"/>
                  </a:cxn>
                  <a:cxn ang="0">
                    <a:pos x="T6" y="T7"/>
                  </a:cxn>
                  <a:cxn ang="0">
                    <a:pos x="T8" y="T9"/>
                  </a:cxn>
                  <a:cxn ang="0">
                    <a:pos x="T10" y="T11"/>
                  </a:cxn>
                  <a:cxn ang="0">
                    <a:pos x="T12" y="T13"/>
                  </a:cxn>
                </a:cxnLst>
                <a:rect l="0" t="0" r="r" b="b"/>
                <a:pathLst>
                  <a:path w="51" h="182">
                    <a:moveTo>
                      <a:pt x="26" y="0"/>
                    </a:moveTo>
                    <a:cubicBezTo>
                      <a:pt x="12" y="0"/>
                      <a:pt x="0" y="12"/>
                      <a:pt x="0" y="26"/>
                    </a:cubicBezTo>
                    <a:cubicBezTo>
                      <a:pt x="0" y="156"/>
                      <a:pt x="0" y="156"/>
                      <a:pt x="0" y="156"/>
                    </a:cubicBezTo>
                    <a:cubicBezTo>
                      <a:pt x="0" y="170"/>
                      <a:pt x="12" y="182"/>
                      <a:pt x="26" y="182"/>
                    </a:cubicBezTo>
                    <a:cubicBezTo>
                      <a:pt x="40" y="182"/>
                      <a:pt x="51" y="170"/>
                      <a:pt x="51" y="156"/>
                    </a:cubicBezTo>
                    <a:cubicBezTo>
                      <a:pt x="51" y="26"/>
                      <a:pt x="51" y="26"/>
                      <a:pt x="51" y="26"/>
                    </a:cubicBezTo>
                    <a:cubicBezTo>
                      <a:pt x="51" y="12"/>
                      <a:pt x="40" y="0"/>
                      <a:pt x="26" y="0"/>
                    </a:cubicBezTo>
                    <a:close/>
                  </a:path>
                </a:pathLst>
              </a:custGeom>
              <a:solidFill>
                <a:srgbClr val="696969"/>
              </a:solidFill>
              <a:ln>
                <a:noFill/>
              </a:ln>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sp>
            <p:nvSpPr>
              <p:cNvPr id="583" name="Freeform 7"/>
              <p:cNvSpPr>
                <a:spLocks/>
              </p:cNvSpPr>
              <p:nvPr/>
            </p:nvSpPr>
            <p:spPr bwMode="auto">
              <a:xfrm>
                <a:off x="1397534" y="3569209"/>
                <a:ext cx="169870" cy="48926"/>
              </a:xfrm>
              <a:custGeom>
                <a:avLst/>
                <a:gdLst>
                  <a:gd name="T0" fmla="*/ 156 w 181"/>
                  <a:gd name="T1" fmla="*/ 0 h 52"/>
                  <a:gd name="T2" fmla="*/ 26 w 181"/>
                  <a:gd name="T3" fmla="*/ 1 h 52"/>
                  <a:gd name="T4" fmla="*/ 0 w 181"/>
                  <a:gd name="T5" fmla="*/ 26 h 52"/>
                  <a:gd name="T6" fmla="*/ 26 w 181"/>
                  <a:gd name="T7" fmla="*/ 52 h 52"/>
                  <a:gd name="T8" fmla="*/ 156 w 181"/>
                  <a:gd name="T9" fmla="*/ 52 h 52"/>
                  <a:gd name="T10" fmla="*/ 181 w 181"/>
                  <a:gd name="T11" fmla="*/ 26 h 52"/>
                  <a:gd name="T12" fmla="*/ 156 w 181"/>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181" h="52">
                    <a:moveTo>
                      <a:pt x="156" y="0"/>
                    </a:moveTo>
                    <a:cubicBezTo>
                      <a:pt x="26" y="1"/>
                      <a:pt x="26" y="1"/>
                      <a:pt x="26" y="1"/>
                    </a:cubicBezTo>
                    <a:cubicBezTo>
                      <a:pt x="12" y="1"/>
                      <a:pt x="0" y="12"/>
                      <a:pt x="0" y="26"/>
                    </a:cubicBezTo>
                    <a:cubicBezTo>
                      <a:pt x="0" y="40"/>
                      <a:pt x="12" y="52"/>
                      <a:pt x="26" y="52"/>
                    </a:cubicBezTo>
                    <a:cubicBezTo>
                      <a:pt x="156" y="52"/>
                      <a:pt x="156" y="52"/>
                      <a:pt x="156" y="52"/>
                    </a:cubicBezTo>
                    <a:cubicBezTo>
                      <a:pt x="170" y="52"/>
                      <a:pt x="181" y="40"/>
                      <a:pt x="181" y="26"/>
                    </a:cubicBezTo>
                    <a:cubicBezTo>
                      <a:pt x="181" y="12"/>
                      <a:pt x="170" y="0"/>
                      <a:pt x="156" y="0"/>
                    </a:cubicBezTo>
                    <a:close/>
                  </a:path>
                </a:pathLst>
              </a:custGeom>
              <a:solidFill>
                <a:srgbClr val="696969"/>
              </a:solidFill>
              <a:ln>
                <a:noFill/>
              </a:ln>
            </p:spPr>
            <p:txBody>
              <a:bodyPr vert="horz" wrap="square" lIns="91440" tIns="45720" rIns="91440" bIns="45720" numCol="1" anchor="t" anchorCtr="0" compatLnSpc="1">
                <a:prstTxWarp prst="textNoShape">
                  <a:avLst/>
                </a:prstTxWarp>
              </a:bodyPr>
              <a:lstStyle/>
              <a:p>
                <a:pPr>
                  <a:defRPr/>
                </a:pPr>
                <a:endParaRPr lang="en-US" sz="800" kern="0" dirty="0">
                  <a:solidFill>
                    <a:srgbClr val="000000"/>
                  </a:solidFill>
                  <a:latin typeface="Calibri"/>
                </a:endParaRPr>
              </a:p>
            </p:txBody>
          </p:sp>
        </p:grpSp>
        <p:sp>
          <p:nvSpPr>
            <p:cNvPr id="879" name="Ellipse 57"/>
            <p:cNvSpPr/>
            <p:nvPr userDrawn="1"/>
          </p:nvSpPr>
          <p:spPr bwMode="auto">
            <a:xfrm>
              <a:off x="1741399" y="3611897"/>
              <a:ext cx="281901" cy="236288"/>
            </a:xfrm>
            <a:prstGeom prst="ellipse">
              <a:avLst/>
            </a:prstGeom>
            <a:solidFill>
              <a:schemeClr val="bg2"/>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en-US" sz="900" b="1" dirty="0">
                  <a:solidFill>
                    <a:srgbClr val="000000"/>
                  </a:solidFill>
                </a:rPr>
                <a:t>1</a:t>
              </a:r>
              <a:r>
                <a:rPr lang="tr-TR" sz="900" b="1" dirty="0">
                  <a:solidFill>
                    <a:srgbClr val="000000"/>
                  </a:solidFill>
                </a:rPr>
                <a:t>0</a:t>
              </a:r>
              <a:endParaRPr lang="en-US" sz="900" b="1" dirty="0">
                <a:solidFill>
                  <a:srgbClr val="000000"/>
                </a:solidFill>
              </a:endParaRPr>
            </a:p>
          </p:txBody>
        </p:sp>
        <p:sp>
          <p:nvSpPr>
            <p:cNvPr id="880" name="Ellipse 57"/>
            <p:cNvSpPr/>
            <p:nvPr userDrawn="1"/>
          </p:nvSpPr>
          <p:spPr bwMode="auto">
            <a:xfrm>
              <a:off x="1009175" y="3621593"/>
              <a:ext cx="216000" cy="216000"/>
            </a:xfrm>
            <a:prstGeom prst="ellipse">
              <a:avLst/>
            </a:prstGeom>
            <a:solidFill>
              <a:schemeClr val="bg2"/>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tr-TR" sz="1100" b="1" dirty="0">
                  <a:solidFill>
                    <a:srgbClr val="000000"/>
                  </a:solidFill>
                </a:rPr>
                <a:t>9</a:t>
              </a:r>
              <a:endParaRPr lang="en-US" sz="1100" b="1" dirty="0">
                <a:solidFill>
                  <a:srgbClr val="000000"/>
                </a:solidFill>
              </a:endParaRPr>
            </a:p>
          </p:txBody>
        </p:sp>
        <p:sp>
          <p:nvSpPr>
            <p:cNvPr id="881" name="Ellipse 57"/>
            <p:cNvSpPr/>
            <p:nvPr userDrawn="1"/>
          </p:nvSpPr>
          <p:spPr bwMode="auto">
            <a:xfrm>
              <a:off x="199716" y="3609067"/>
              <a:ext cx="216000" cy="216000"/>
            </a:xfrm>
            <a:prstGeom prst="ellipse">
              <a:avLst/>
            </a:prstGeom>
            <a:solidFill>
              <a:schemeClr val="bg2"/>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tr-TR" sz="1100" b="1" dirty="0">
                  <a:solidFill>
                    <a:srgbClr val="000000"/>
                  </a:solidFill>
                </a:rPr>
                <a:t>8</a:t>
              </a:r>
              <a:endParaRPr lang="en-US" sz="1100" b="1" dirty="0">
                <a:solidFill>
                  <a:srgbClr val="000000"/>
                </a:solidFill>
              </a:endParaRPr>
            </a:p>
          </p:txBody>
        </p:sp>
        <p:sp>
          <p:nvSpPr>
            <p:cNvPr id="882" name="Ellipse 57"/>
            <p:cNvSpPr/>
            <p:nvPr userDrawn="1"/>
          </p:nvSpPr>
          <p:spPr bwMode="auto">
            <a:xfrm>
              <a:off x="4838676" y="2954816"/>
              <a:ext cx="216000" cy="216000"/>
            </a:xfrm>
            <a:prstGeom prst="ellipse">
              <a:avLst/>
            </a:prstGeom>
            <a:solidFill>
              <a:schemeClr val="bg2"/>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tr-TR" sz="1100" b="1" dirty="0">
                  <a:solidFill>
                    <a:srgbClr val="000000"/>
                  </a:solidFill>
                </a:rPr>
                <a:t>7</a:t>
              </a:r>
              <a:endParaRPr lang="en-US" sz="1100" b="1" dirty="0">
                <a:solidFill>
                  <a:srgbClr val="000000"/>
                </a:solidFill>
              </a:endParaRPr>
            </a:p>
          </p:txBody>
        </p:sp>
        <p:sp>
          <p:nvSpPr>
            <p:cNvPr id="883" name="Ellipse 57"/>
            <p:cNvSpPr/>
            <p:nvPr userDrawn="1"/>
          </p:nvSpPr>
          <p:spPr bwMode="auto">
            <a:xfrm>
              <a:off x="4034135" y="2954822"/>
              <a:ext cx="216000" cy="216000"/>
            </a:xfrm>
            <a:prstGeom prst="ellipse">
              <a:avLst/>
            </a:prstGeom>
            <a:solidFill>
              <a:schemeClr val="bg2"/>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tr-TR" sz="1100" b="1" dirty="0">
                  <a:solidFill>
                    <a:srgbClr val="000000"/>
                  </a:solidFill>
                </a:rPr>
                <a:t>6</a:t>
              </a:r>
              <a:endParaRPr lang="en-US" sz="1100" b="1" dirty="0">
                <a:solidFill>
                  <a:srgbClr val="000000"/>
                </a:solidFill>
              </a:endParaRPr>
            </a:p>
          </p:txBody>
        </p:sp>
        <p:sp>
          <p:nvSpPr>
            <p:cNvPr id="884" name="Ellipse 57"/>
            <p:cNvSpPr/>
            <p:nvPr userDrawn="1"/>
          </p:nvSpPr>
          <p:spPr bwMode="auto">
            <a:xfrm>
              <a:off x="3286011" y="2964347"/>
              <a:ext cx="216000" cy="216000"/>
            </a:xfrm>
            <a:prstGeom prst="ellipse">
              <a:avLst/>
            </a:prstGeom>
            <a:solidFill>
              <a:schemeClr val="bg2"/>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tr-TR" sz="1100" b="1" dirty="0">
                  <a:solidFill>
                    <a:srgbClr val="000000"/>
                  </a:solidFill>
                </a:rPr>
                <a:t>5</a:t>
              </a:r>
              <a:endParaRPr lang="en-US" sz="1100" b="1" dirty="0">
                <a:solidFill>
                  <a:srgbClr val="000000"/>
                </a:solidFill>
              </a:endParaRPr>
            </a:p>
          </p:txBody>
        </p:sp>
        <p:sp>
          <p:nvSpPr>
            <p:cNvPr id="885" name="Ellipse 57"/>
            <p:cNvSpPr/>
            <p:nvPr userDrawn="1"/>
          </p:nvSpPr>
          <p:spPr bwMode="auto">
            <a:xfrm>
              <a:off x="2520238" y="2973842"/>
              <a:ext cx="216000" cy="216000"/>
            </a:xfrm>
            <a:prstGeom prst="ellipse">
              <a:avLst/>
            </a:prstGeom>
            <a:solidFill>
              <a:schemeClr val="bg2"/>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tr-TR" sz="1100" b="1" dirty="0">
                  <a:solidFill>
                    <a:srgbClr val="000000"/>
                  </a:solidFill>
                </a:rPr>
                <a:t>4</a:t>
              </a:r>
              <a:endParaRPr lang="en-US" sz="1100" b="1" dirty="0">
                <a:solidFill>
                  <a:srgbClr val="000000"/>
                </a:solidFill>
              </a:endParaRPr>
            </a:p>
          </p:txBody>
        </p:sp>
        <p:sp>
          <p:nvSpPr>
            <p:cNvPr id="886" name="Ellipse 57"/>
            <p:cNvSpPr/>
            <p:nvPr userDrawn="1"/>
          </p:nvSpPr>
          <p:spPr bwMode="auto">
            <a:xfrm>
              <a:off x="1759675" y="2983855"/>
              <a:ext cx="216000" cy="216000"/>
            </a:xfrm>
            <a:prstGeom prst="ellipse">
              <a:avLst/>
            </a:prstGeom>
            <a:solidFill>
              <a:schemeClr val="bg2"/>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tr-TR" sz="1100" b="1" dirty="0">
                  <a:solidFill>
                    <a:srgbClr val="000000"/>
                  </a:solidFill>
                </a:rPr>
                <a:t>3</a:t>
              </a:r>
              <a:endParaRPr lang="en-US" sz="1100" b="1" dirty="0">
                <a:solidFill>
                  <a:srgbClr val="000000"/>
                </a:solidFill>
              </a:endParaRPr>
            </a:p>
          </p:txBody>
        </p:sp>
        <p:sp>
          <p:nvSpPr>
            <p:cNvPr id="887" name="Ellipse 57"/>
            <p:cNvSpPr/>
            <p:nvPr userDrawn="1"/>
          </p:nvSpPr>
          <p:spPr bwMode="auto">
            <a:xfrm>
              <a:off x="1009938" y="2973915"/>
              <a:ext cx="216000" cy="216000"/>
            </a:xfrm>
            <a:prstGeom prst="ellipse">
              <a:avLst/>
            </a:prstGeom>
            <a:solidFill>
              <a:schemeClr val="bg2"/>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tr-TR" sz="1100" b="1" dirty="0">
                  <a:solidFill>
                    <a:srgbClr val="000000"/>
                  </a:solidFill>
                </a:rPr>
                <a:t>2</a:t>
              </a:r>
              <a:endParaRPr lang="en-US" sz="1100" b="1" dirty="0">
                <a:solidFill>
                  <a:srgbClr val="000000"/>
                </a:solidFill>
              </a:endParaRPr>
            </a:p>
          </p:txBody>
        </p:sp>
        <p:sp>
          <p:nvSpPr>
            <p:cNvPr id="888" name="Ellipse 57"/>
            <p:cNvSpPr/>
            <p:nvPr userDrawn="1"/>
          </p:nvSpPr>
          <p:spPr bwMode="auto">
            <a:xfrm>
              <a:off x="209646" y="2992838"/>
              <a:ext cx="216000" cy="216000"/>
            </a:xfrm>
            <a:prstGeom prst="ellipse">
              <a:avLst/>
            </a:prstGeom>
            <a:solidFill>
              <a:schemeClr val="bg2"/>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en-US" sz="1100" b="1" dirty="0">
                  <a:solidFill>
                    <a:srgbClr val="000000"/>
                  </a:solidFill>
                </a:rPr>
                <a:t>1</a:t>
              </a:r>
            </a:p>
          </p:txBody>
        </p:sp>
        <p:sp>
          <p:nvSpPr>
            <p:cNvPr id="893" name="Ellipse 57"/>
            <p:cNvSpPr/>
            <p:nvPr userDrawn="1"/>
          </p:nvSpPr>
          <p:spPr bwMode="auto">
            <a:xfrm>
              <a:off x="2494178" y="3614943"/>
              <a:ext cx="281901" cy="236288"/>
            </a:xfrm>
            <a:prstGeom prst="ellipse">
              <a:avLst/>
            </a:prstGeom>
            <a:solidFill>
              <a:schemeClr val="bg2"/>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en-US" sz="900" b="1" dirty="0">
                  <a:solidFill>
                    <a:srgbClr val="000000"/>
                  </a:solidFill>
                </a:rPr>
                <a:t>1</a:t>
              </a:r>
              <a:r>
                <a:rPr lang="tr-TR" sz="900" b="1" dirty="0">
                  <a:solidFill>
                    <a:srgbClr val="000000"/>
                  </a:solidFill>
                </a:rPr>
                <a:t>1</a:t>
              </a:r>
              <a:endParaRPr lang="en-US" sz="900" b="1" dirty="0">
                <a:solidFill>
                  <a:srgbClr val="000000"/>
                </a:solidFill>
              </a:endParaRPr>
            </a:p>
          </p:txBody>
        </p:sp>
        <p:sp>
          <p:nvSpPr>
            <p:cNvPr id="894" name="Ellipse 57"/>
            <p:cNvSpPr/>
            <p:nvPr userDrawn="1"/>
          </p:nvSpPr>
          <p:spPr bwMode="auto">
            <a:xfrm>
              <a:off x="3274611" y="3611897"/>
              <a:ext cx="281901" cy="236288"/>
            </a:xfrm>
            <a:prstGeom prst="ellipse">
              <a:avLst/>
            </a:prstGeom>
            <a:solidFill>
              <a:schemeClr val="bg2"/>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en-US" sz="900" b="1" dirty="0">
                  <a:solidFill>
                    <a:srgbClr val="000000"/>
                  </a:solidFill>
                </a:rPr>
                <a:t>1</a:t>
              </a:r>
              <a:r>
                <a:rPr lang="tr-TR" sz="900" b="1" dirty="0">
                  <a:solidFill>
                    <a:srgbClr val="000000"/>
                  </a:solidFill>
                </a:rPr>
                <a:t>2</a:t>
              </a:r>
              <a:endParaRPr lang="en-US" sz="900" b="1" dirty="0">
                <a:solidFill>
                  <a:srgbClr val="000000"/>
                </a:solidFill>
              </a:endParaRPr>
            </a:p>
          </p:txBody>
        </p:sp>
        <p:sp>
          <p:nvSpPr>
            <p:cNvPr id="895" name="Ellipse 57"/>
            <p:cNvSpPr/>
            <p:nvPr userDrawn="1"/>
          </p:nvSpPr>
          <p:spPr bwMode="auto">
            <a:xfrm>
              <a:off x="4009736" y="3609068"/>
              <a:ext cx="285322" cy="241410"/>
            </a:xfrm>
            <a:prstGeom prst="ellipse">
              <a:avLst/>
            </a:prstGeom>
            <a:solidFill>
              <a:schemeClr val="bg2"/>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en-US" sz="900" b="1" dirty="0">
                  <a:solidFill>
                    <a:srgbClr val="000000"/>
                  </a:solidFill>
                </a:rPr>
                <a:t>1</a:t>
              </a:r>
              <a:r>
                <a:rPr lang="tr-TR" sz="900" b="1" dirty="0">
                  <a:solidFill>
                    <a:srgbClr val="000000"/>
                  </a:solidFill>
                </a:rPr>
                <a:t>3</a:t>
              </a:r>
              <a:endParaRPr lang="en-US" sz="900" b="1" dirty="0">
                <a:solidFill>
                  <a:srgbClr val="000000"/>
                </a:solidFill>
              </a:endParaRPr>
            </a:p>
          </p:txBody>
        </p:sp>
        <p:sp>
          <p:nvSpPr>
            <p:cNvPr id="896" name="Ellipse 57"/>
            <p:cNvSpPr/>
            <p:nvPr userDrawn="1"/>
          </p:nvSpPr>
          <p:spPr bwMode="auto">
            <a:xfrm>
              <a:off x="4827028" y="3617782"/>
              <a:ext cx="281901" cy="236288"/>
            </a:xfrm>
            <a:prstGeom prst="ellipse">
              <a:avLst/>
            </a:prstGeom>
            <a:solidFill>
              <a:schemeClr val="bg2"/>
            </a:solidFill>
            <a:ln w="12700" cap="flat" cmpd="sng" algn="ctr">
              <a:solidFill>
                <a:schemeClr val="accent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algn="ctr" defTabSz="995363" eaLnBrk="0" fontAlgn="base" hangingPunct="0">
                <a:spcBef>
                  <a:spcPct val="0"/>
                </a:spcBef>
                <a:spcAft>
                  <a:spcPct val="0"/>
                </a:spcAft>
              </a:pPr>
              <a:r>
                <a:rPr lang="en-US" sz="900" b="1" dirty="0">
                  <a:solidFill>
                    <a:srgbClr val="000000"/>
                  </a:solidFill>
                </a:rPr>
                <a:t>1</a:t>
              </a:r>
              <a:r>
                <a:rPr lang="tr-TR" sz="900" b="1" dirty="0">
                  <a:solidFill>
                    <a:srgbClr val="000000"/>
                  </a:solidFill>
                </a:rPr>
                <a:t>4</a:t>
              </a:r>
              <a:endParaRPr lang="en-US" sz="900" b="1" dirty="0">
                <a:solidFill>
                  <a:srgbClr val="000000"/>
                </a:solidFill>
              </a:endParaRPr>
            </a:p>
          </p:txBody>
        </p:sp>
      </p:grpSp>
      <p:sp>
        <p:nvSpPr>
          <p:cNvPr id="897" name="Rechteck 107"/>
          <p:cNvSpPr/>
          <p:nvPr userDrawn="1"/>
        </p:nvSpPr>
        <p:spPr bwMode="auto">
          <a:xfrm>
            <a:off x="6457028" y="2862629"/>
            <a:ext cx="1912972" cy="1321988"/>
          </a:xfrm>
          <a:prstGeom prst="rect">
            <a:avLst/>
          </a:prstGeom>
          <a:solidFill>
            <a:srgbClr val="FFFFFF">
              <a:alpha val="83137"/>
            </a:srgbClr>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a:solidFill>
                <a:srgbClr val="000000"/>
              </a:solidFill>
            </a:endParaRPr>
          </a:p>
        </p:txBody>
      </p:sp>
      <p:sp>
        <p:nvSpPr>
          <p:cNvPr id="22" name="Rectangle 21"/>
          <p:cNvSpPr/>
          <p:nvPr userDrawn="1"/>
        </p:nvSpPr>
        <p:spPr>
          <a:xfrm>
            <a:off x="4060896" y="3856244"/>
            <a:ext cx="862673" cy="215444"/>
          </a:xfrm>
          <a:prstGeom prst="rect">
            <a:avLst/>
          </a:prstGeom>
        </p:spPr>
        <p:txBody>
          <a:bodyPr wrap="square">
            <a:spAutoFit/>
          </a:bodyPr>
          <a:lstStyle/>
          <a:p>
            <a:pPr algn="ctr">
              <a:defRPr/>
            </a:pPr>
            <a:r>
              <a:rPr lang="tr-TR" sz="800" kern="0" dirty="0">
                <a:solidFill>
                  <a:srgbClr val="FFFFFF"/>
                </a:solidFill>
                <a:latin typeface="Calibri"/>
              </a:rPr>
              <a:t>İZLENEBİLİRLİK</a:t>
            </a:r>
            <a:endParaRPr lang="en-US" sz="800" kern="0" dirty="0">
              <a:solidFill>
                <a:srgbClr val="FFFFFF"/>
              </a:solidFill>
              <a:latin typeface="Calibri"/>
            </a:endParaRPr>
          </a:p>
        </p:txBody>
      </p:sp>
      <p:sp>
        <p:nvSpPr>
          <p:cNvPr id="416" name="Rechteck 63"/>
          <p:cNvSpPr/>
          <p:nvPr userDrawn="1"/>
        </p:nvSpPr>
        <p:spPr bwMode="auto">
          <a:xfrm>
            <a:off x="5109281" y="201609"/>
            <a:ext cx="1308433" cy="207600"/>
          </a:xfrm>
          <a:prstGeom prst="rect">
            <a:avLst/>
          </a:prstGeom>
          <a:solidFill>
            <a:schemeClr val="accent3"/>
          </a:solidFill>
          <a:ln w="1270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defTabSz="995363" eaLnBrk="0" fontAlgn="base" hangingPunct="0">
              <a:spcBef>
                <a:spcPct val="0"/>
              </a:spcBef>
              <a:spcAft>
                <a:spcPct val="0"/>
              </a:spcAft>
            </a:pPr>
            <a:r>
              <a:rPr lang="tr-TR" sz="1000" b="1" dirty="0">
                <a:solidFill>
                  <a:srgbClr val="000000"/>
                </a:solidFill>
              </a:rPr>
              <a:t>Danışman Öğr. Gör.</a:t>
            </a:r>
            <a:endParaRPr lang="en-US" sz="1000" b="1" dirty="0">
              <a:solidFill>
                <a:srgbClr val="000000"/>
              </a:solidFill>
            </a:endParaRPr>
          </a:p>
        </p:txBody>
      </p:sp>
    </p:spTree>
    <p:extLst>
      <p:ext uri="{BB962C8B-B14F-4D97-AF65-F5344CB8AC3E}">
        <p14:creationId xmlns:p14="http://schemas.microsoft.com/office/powerpoint/2010/main" val="1947161778"/>
      </p:ext>
    </p:extLst>
  </p:cSld>
  <p:clrMap bg1="lt1" tx1="dk1" bg2="lt2" tx2="dk2" accent1="accent1" accent2="accent2" accent3="accent3" accent4="accent4" accent5="accent5" accent6="accent6" hlink="hlink" folHlink="folHlink"/>
  <p:sldLayoutIdLst>
    <p:sldLayoutId id="2147483661" r:id="rId1"/>
  </p:sldLayoutIdLst>
  <p:timing>
    <p:tnLst>
      <p:par>
        <p:cTn id="1" dur="indefinite" restart="never" nodeType="tmRoot"/>
      </p:par>
    </p:tnLst>
  </p:timing>
  <p:hf sldNum="0" hdr="0" dt="0"/>
  <p:txStyles>
    <p:titleStyle>
      <a:lvl1pPr algn="l" defTabSz="914400" rtl="0" eaLnBrk="1" latinLnBrk="0" hangingPunct="1">
        <a:lnSpc>
          <a:spcPct val="100000"/>
        </a:lnSpc>
        <a:spcBef>
          <a:spcPct val="0"/>
        </a:spcBef>
        <a:buNone/>
        <a:defRPr sz="2000" kern="1200" cap="none" normalizeH="0" baseline="0">
          <a:solidFill>
            <a:schemeClr val="tx1"/>
          </a:solidFill>
          <a:latin typeface="+mj-lt"/>
          <a:ea typeface="+mj-ea"/>
          <a:cs typeface="+mj-cs"/>
        </a:defRPr>
      </a:lvl1pPr>
    </p:titleStyle>
    <p:bodyStyle>
      <a:lvl1pPr marL="0" marR="0" indent="0" algn="l" defTabSz="914400" rtl="0" eaLnBrk="1" fontAlgn="auto" latinLnBrk="0" hangingPunct="1">
        <a:lnSpc>
          <a:spcPct val="110000"/>
        </a:lnSpc>
        <a:spcBef>
          <a:spcPts val="0"/>
        </a:spcBef>
        <a:spcAft>
          <a:spcPts val="500"/>
        </a:spcAft>
        <a:buClrTx/>
        <a:buSzTx/>
        <a:buFont typeface="Arial" pitchFamily="34" charset="0"/>
        <a:buNone/>
        <a:tabLst/>
        <a:defRPr kumimoji="0" lang="de-DE" sz="1400" b="0" i="0" u="none" strike="noStrike" kern="1200" cap="none" spc="0" normalizeH="0" baseline="0" noProof="0">
          <a:ln>
            <a:noFill/>
          </a:ln>
          <a:solidFill>
            <a:schemeClr val="tx1"/>
          </a:solidFill>
          <a:effectLst/>
          <a:uLnTx/>
          <a:uFillTx/>
          <a:latin typeface="+mn-lt"/>
          <a:ea typeface="+mn-ea"/>
          <a:cs typeface="+mn-cs"/>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2pPr>
      <a:lvl3pPr marL="36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3pPr>
      <a:lvl4pPr marL="54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4pPr>
      <a:lvl5pPr marL="0" marR="0" indent="0" algn="l" defTabSz="914400" rtl="0" eaLnBrk="1" fontAlgn="auto" latinLnBrk="0" hangingPunct="1">
        <a:lnSpc>
          <a:spcPct val="100000"/>
        </a:lnSpc>
        <a:spcBef>
          <a:spcPts val="0"/>
        </a:spcBef>
        <a:spcAft>
          <a:spcPts val="1400"/>
        </a:spcAft>
        <a:buClr>
          <a:schemeClr val="tx1"/>
        </a:buClr>
        <a:buSzTx/>
        <a:buFontTx/>
        <a:buNone/>
        <a:tabLst/>
        <a:defRPr kumimoji="0" lang="en-US" sz="1800" b="1" i="0" u="none" strike="noStrike" kern="1200" cap="none" spc="0" normalizeH="0" baseline="0" noProof="0">
          <a:ln>
            <a:noFill/>
          </a:ln>
          <a:solidFill>
            <a:schemeClr val="tx1"/>
          </a:solidFill>
          <a:effectLst/>
          <a:uLnTx/>
          <a:uFillTx/>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2"/>
            </p:custDataLst>
            <p:extLst>
              <p:ext uri="{D42A27DB-BD31-4B8C-83A1-F6EECF244321}">
                <p14:modId xmlns:p14="http://schemas.microsoft.com/office/powerpoint/2010/main" val="2055303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platzhalter 4"/>
          <p:cNvSpPr>
            <a:spLocks noGrp="1"/>
          </p:cNvSpPr>
          <p:nvPr>
            <p:ph type="body" sz="quarter" idx="13"/>
          </p:nvPr>
        </p:nvSpPr>
        <p:spPr>
          <a:ln>
            <a:solidFill>
              <a:schemeClr val="accent1"/>
            </a:solidFill>
          </a:ln>
        </p:spPr>
        <p:txBody>
          <a:bodyPr/>
          <a:lstStyle/>
          <a:p>
            <a:endParaRPr lang="de-DE"/>
          </a:p>
        </p:txBody>
      </p:sp>
      <p:sp>
        <p:nvSpPr>
          <p:cNvPr id="6" name="Textplatzhalter 5"/>
          <p:cNvSpPr>
            <a:spLocks noGrp="1"/>
          </p:cNvSpPr>
          <p:nvPr>
            <p:ph type="body" sz="quarter" idx="14"/>
          </p:nvPr>
        </p:nvSpPr>
        <p:spPr>
          <a:ln>
            <a:solidFill>
              <a:schemeClr val="accent1"/>
            </a:solidFill>
          </a:ln>
        </p:spPr>
        <p:txBody>
          <a:bodyPr/>
          <a:lstStyle/>
          <a:p>
            <a:endParaRPr lang="de-DE" dirty="0"/>
          </a:p>
        </p:txBody>
      </p:sp>
      <p:sp>
        <p:nvSpPr>
          <p:cNvPr id="7" name="Textplatzhalter 6"/>
          <p:cNvSpPr>
            <a:spLocks noGrp="1"/>
          </p:cNvSpPr>
          <p:nvPr>
            <p:ph type="body" sz="quarter" idx="15"/>
          </p:nvPr>
        </p:nvSpPr>
        <p:spPr>
          <a:ln>
            <a:solidFill>
              <a:schemeClr val="accent1"/>
            </a:solidFill>
          </a:ln>
        </p:spPr>
        <p:txBody>
          <a:bodyPr/>
          <a:lstStyle/>
          <a:p>
            <a:endParaRPr lang="de-DE" dirty="0"/>
          </a:p>
        </p:txBody>
      </p:sp>
      <p:sp>
        <p:nvSpPr>
          <p:cNvPr id="10" name="Textplatzhalter 9"/>
          <p:cNvSpPr>
            <a:spLocks noGrp="1"/>
          </p:cNvSpPr>
          <p:nvPr>
            <p:ph type="body" sz="quarter" idx="18"/>
          </p:nvPr>
        </p:nvSpPr>
        <p:spPr>
          <a:ln>
            <a:solidFill>
              <a:schemeClr val="accent1"/>
            </a:solidFill>
          </a:ln>
        </p:spPr>
        <p:txBody>
          <a:bodyPr/>
          <a:lstStyle/>
          <a:p>
            <a:endParaRPr lang="de-DE" dirty="0"/>
          </a:p>
        </p:txBody>
      </p:sp>
      <p:sp>
        <p:nvSpPr>
          <p:cNvPr id="11" name="Textplatzhalter 10"/>
          <p:cNvSpPr>
            <a:spLocks noGrp="1"/>
          </p:cNvSpPr>
          <p:nvPr>
            <p:ph type="body" sz="quarter" idx="19"/>
          </p:nvPr>
        </p:nvSpPr>
        <p:spPr>
          <a:ln>
            <a:solidFill>
              <a:schemeClr val="accent1"/>
            </a:solidFill>
          </a:ln>
        </p:spPr>
        <p:txBody>
          <a:bodyPr/>
          <a:lstStyle/>
          <a:p>
            <a:endParaRPr lang="de-DE" dirty="0"/>
          </a:p>
        </p:txBody>
      </p:sp>
      <p:sp>
        <p:nvSpPr>
          <p:cNvPr id="15" name="Textplatzhalter 14"/>
          <p:cNvSpPr>
            <a:spLocks noGrp="1"/>
          </p:cNvSpPr>
          <p:nvPr>
            <p:ph type="body" sz="quarter" idx="23"/>
          </p:nvPr>
        </p:nvSpPr>
        <p:spPr>
          <a:ln>
            <a:solidFill>
              <a:schemeClr val="accent1"/>
            </a:solidFill>
          </a:ln>
        </p:spPr>
        <p:txBody>
          <a:bodyPr/>
          <a:lstStyle/>
          <a:p>
            <a:endParaRPr lang="de-DE"/>
          </a:p>
        </p:txBody>
      </p:sp>
      <p:sp>
        <p:nvSpPr>
          <p:cNvPr id="16" name="Textplatzhalter 15"/>
          <p:cNvSpPr>
            <a:spLocks noGrp="1"/>
          </p:cNvSpPr>
          <p:nvPr>
            <p:ph type="body" sz="quarter" idx="24"/>
          </p:nvPr>
        </p:nvSpPr>
        <p:spPr>
          <a:ln>
            <a:solidFill>
              <a:schemeClr val="accent1"/>
            </a:solidFill>
          </a:ln>
        </p:spPr>
        <p:txBody>
          <a:bodyPr/>
          <a:lstStyle/>
          <a:p>
            <a:endParaRPr lang="de-DE" dirty="0"/>
          </a:p>
        </p:txBody>
      </p:sp>
      <p:sp>
        <p:nvSpPr>
          <p:cNvPr id="19" name="Textplatzhalter 18"/>
          <p:cNvSpPr>
            <a:spLocks noGrp="1"/>
          </p:cNvSpPr>
          <p:nvPr>
            <p:ph type="body" sz="quarter" idx="27"/>
          </p:nvPr>
        </p:nvSpPr>
        <p:spPr>
          <a:ln>
            <a:solidFill>
              <a:schemeClr val="accent1"/>
            </a:solidFill>
          </a:ln>
        </p:spPr>
        <p:txBody>
          <a:bodyPr/>
          <a:lstStyle/>
          <a:p>
            <a:endParaRPr lang="de-DE" dirty="0"/>
          </a:p>
        </p:txBody>
      </p:sp>
      <p:sp>
        <p:nvSpPr>
          <p:cNvPr id="20" name="Textplatzhalter 19"/>
          <p:cNvSpPr>
            <a:spLocks noGrp="1"/>
          </p:cNvSpPr>
          <p:nvPr>
            <p:ph type="body" sz="quarter" idx="28"/>
          </p:nvPr>
        </p:nvSpPr>
        <p:spPr>
          <a:ln>
            <a:solidFill>
              <a:schemeClr val="accent1"/>
            </a:solidFill>
          </a:ln>
        </p:spPr>
        <p:txBody>
          <a:bodyPr/>
          <a:lstStyle/>
          <a:p>
            <a:endParaRPr lang="de-DE"/>
          </a:p>
        </p:txBody>
      </p:sp>
      <p:sp>
        <p:nvSpPr>
          <p:cNvPr id="21" name="Textplatzhalter 20"/>
          <p:cNvSpPr>
            <a:spLocks noGrp="1"/>
          </p:cNvSpPr>
          <p:nvPr>
            <p:ph type="body" sz="quarter" idx="29"/>
          </p:nvPr>
        </p:nvSpPr>
        <p:spPr>
          <a:ln>
            <a:solidFill>
              <a:schemeClr val="accent1"/>
            </a:solidFill>
          </a:ln>
        </p:spPr>
        <p:txBody>
          <a:bodyPr/>
          <a:lstStyle/>
          <a:p>
            <a:endParaRPr lang="de-DE"/>
          </a:p>
        </p:txBody>
      </p:sp>
      <p:sp>
        <p:nvSpPr>
          <p:cNvPr id="24" name="Textplatzhalter 23"/>
          <p:cNvSpPr>
            <a:spLocks noGrp="1"/>
          </p:cNvSpPr>
          <p:nvPr>
            <p:ph type="body" sz="quarter" idx="36"/>
          </p:nvPr>
        </p:nvSpPr>
        <p:spPr/>
        <p:txBody>
          <a:bodyPr/>
          <a:lstStyle/>
          <a:p>
            <a:endParaRPr lang="de-DE" dirty="0"/>
          </a:p>
        </p:txBody>
      </p:sp>
      <p:sp>
        <p:nvSpPr>
          <p:cNvPr id="25" name="Textplatzhalter 24"/>
          <p:cNvSpPr>
            <a:spLocks noGrp="1"/>
          </p:cNvSpPr>
          <p:nvPr>
            <p:ph type="body" sz="quarter" idx="37"/>
          </p:nvPr>
        </p:nvSpPr>
        <p:spPr>
          <a:xfrm>
            <a:off x="6010275" y="4847245"/>
            <a:ext cx="2933700" cy="1420203"/>
          </a:xfrm>
        </p:spPr>
        <p:txBody>
          <a:bodyPr/>
          <a:lstStyle/>
          <a:p>
            <a:endParaRPr lang="de-DE" dirty="0"/>
          </a:p>
        </p:txBody>
      </p:sp>
      <p:sp>
        <p:nvSpPr>
          <p:cNvPr id="26" name="Textplatzhalter 25"/>
          <p:cNvSpPr>
            <a:spLocks noGrp="1"/>
          </p:cNvSpPr>
          <p:nvPr>
            <p:ph type="body" sz="quarter" idx="38"/>
          </p:nvPr>
        </p:nvSpPr>
        <p:spPr>
          <a:xfrm>
            <a:off x="240675" y="4672011"/>
            <a:ext cx="2369175" cy="1533526"/>
          </a:xfrm>
        </p:spPr>
        <p:txBody>
          <a:bodyPr/>
          <a:lstStyle/>
          <a:p>
            <a:endParaRPr lang="de-DE" dirty="0"/>
          </a:p>
        </p:txBody>
      </p:sp>
      <p:sp>
        <p:nvSpPr>
          <p:cNvPr id="34" name="Textplatzhalter 2"/>
          <p:cNvSpPr>
            <a:spLocks noGrp="1"/>
          </p:cNvSpPr>
          <p:nvPr>
            <p:ph type="body" sz="quarter" idx="11"/>
          </p:nvPr>
        </p:nvSpPr>
        <p:spPr>
          <a:xfrm>
            <a:off x="581024" y="990600"/>
            <a:ext cx="600077" cy="246516"/>
          </a:xfrm>
          <a:ln>
            <a:solidFill>
              <a:schemeClr val="accent1"/>
            </a:solidFill>
          </a:ln>
        </p:spPr>
        <p:txBody>
          <a:bodyPr/>
          <a:lstStyle/>
          <a:p>
            <a:endParaRPr lang="tr-TR" dirty="0"/>
          </a:p>
        </p:txBody>
      </p:sp>
      <p:sp>
        <p:nvSpPr>
          <p:cNvPr id="35" name="Textplatzhalter 2"/>
          <p:cNvSpPr>
            <a:spLocks noGrp="1"/>
          </p:cNvSpPr>
          <p:nvPr>
            <p:ph type="body" sz="quarter" idx="11"/>
          </p:nvPr>
        </p:nvSpPr>
        <p:spPr>
          <a:xfrm>
            <a:off x="581025" y="1333500"/>
            <a:ext cx="600076" cy="244476"/>
          </a:xfrm>
          <a:ln>
            <a:solidFill>
              <a:schemeClr val="accent1"/>
            </a:solidFill>
          </a:ln>
        </p:spPr>
        <p:txBody>
          <a:bodyPr/>
          <a:lstStyle/>
          <a:p>
            <a:endParaRPr lang="tr-TR" dirty="0"/>
          </a:p>
        </p:txBody>
      </p:sp>
      <p:sp>
        <p:nvSpPr>
          <p:cNvPr id="36" name="Textplatzhalter 2"/>
          <p:cNvSpPr>
            <a:spLocks noGrp="1"/>
          </p:cNvSpPr>
          <p:nvPr>
            <p:ph type="body" sz="quarter" idx="11"/>
          </p:nvPr>
        </p:nvSpPr>
        <p:spPr>
          <a:xfrm>
            <a:off x="581024" y="1657350"/>
            <a:ext cx="600077" cy="200025"/>
          </a:xfrm>
          <a:ln>
            <a:solidFill>
              <a:schemeClr val="accent1"/>
            </a:solidFill>
          </a:ln>
        </p:spPr>
        <p:txBody>
          <a:bodyPr/>
          <a:lstStyle/>
          <a:p>
            <a:endParaRPr lang="tr-TR" dirty="0"/>
          </a:p>
        </p:txBody>
      </p:sp>
      <p:sp>
        <p:nvSpPr>
          <p:cNvPr id="37" name="Textplatzhalter 2"/>
          <p:cNvSpPr>
            <a:spLocks noGrp="1"/>
          </p:cNvSpPr>
          <p:nvPr>
            <p:ph type="body" sz="quarter" idx="11"/>
          </p:nvPr>
        </p:nvSpPr>
        <p:spPr>
          <a:xfrm>
            <a:off x="581024" y="2019300"/>
            <a:ext cx="600077" cy="246515"/>
          </a:xfrm>
          <a:ln>
            <a:solidFill>
              <a:schemeClr val="accent1"/>
            </a:solidFill>
          </a:ln>
        </p:spPr>
        <p:txBody>
          <a:bodyPr/>
          <a:lstStyle/>
          <a:p>
            <a:endParaRPr lang="tr-TR" dirty="0"/>
          </a:p>
        </p:txBody>
      </p:sp>
      <p:sp>
        <p:nvSpPr>
          <p:cNvPr id="30" name="Textplatzhalter 18"/>
          <p:cNvSpPr>
            <a:spLocks noGrp="1"/>
          </p:cNvSpPr>
          <p:nvPr>
            <p:ph type="body" sz="quarter" idx="27"/>
          </p:nvPr>
        </p:nvSpPr>
        <p:spPr>
          <a:xfrm>
            <a:off x="1323974" y="990600"/>
            <a:ext cx="1000126" cy="246515"/>
          </a:xfrm>
          <a:ln>
            <a:solidFill>
              <a:schemeClr val="accent1"/>
            </a:solidFill>
          </a:ln>
        </p:spPr>
        <p:txBody>
          <a:bodyPr/>
          <a:lstStyle/>
          <a:p>
            <a:endParaRPr lang="de-DE" dirty="0"/>
          </a:p>
        </p:txBody>
      </p:sp>
      <p:sp>
        <p:nvSpPr>
          <p:cNvPr id="33" name="Textplatzhalter 18"/>
          <p:cNvSpPr>
            <a:spLocks noGrp="1"/>
          </p:cNvSpPr>
          <p:nvPr>
            <p:ph type="body" sz="quarter" idx="27"/>
          </p:nvPr>
        </p:nvSpPr>
        <p:spPr>
          <a:xfrm>
            <a:off x="1323975" y="1331913"/>
            <a:ext cx="1000125" cy="246063"/>
          </a:xfrm>
          <a:ln>
            <a:solidFill>
              <a:schemeClr val="accent1"/>
            </a:solidFill>
          </a:ln>
        </p:spPr>
        <p:txBody>
          <a:bodyPr/>
          <a:lstStyle/>
          <a:p>
            <a:endParaRPr lang="tr-TR"/>
          </a:p>
        </p:txBody>
      </p:sp>
      <p:sp>
        <p:nvSpPr>
          <p:cNvPr id="38" name="Textplatzhalter 18"/>
          <p:cNvSpPr>
            <a:spLocks noGrp="1"/>
          </p:cNvSpPr>
          <p:nvPr>
            <p:ph type="body" sz="quarter" idx="27"/>
          </p:nvPr>
        </p:nvSpPr>
        <p:spPr>
          <a:xfrm>
            <a:off x="1323974" y="1697034"/>
            <a:ext cx="1000125" cy="246063"/>
          </a:xfrm>
          <a:ln>
            <a:solidFill>
              <a:schemeClr val="accent1"/>
            </a:solidFill>
          </a:ln>
        </p:spPr>
        <p:txBody>
          <a:bodyPr/>
          <a:lstStyle/>
          <a:p>
            <a:endParaRPr lang="tr-TR"/>
          </a:p>
        </p:txBody>
      </p:sp>
      <p:sp>
        <p:nvSpPr>
          <p:cNvPr id="39" name="Textplatzhalter 6"/>
          <p:cNvSpPr>
            <a:spLocks noGrp="1"/>
          </p:cNvSpPr>
          <p:nvPr>
            <p:ph type="body" sz="quarter" idx="15"/>
          </p:nvPr>
        </p:nvSpPr>
        <p:spPr>
          <a:xfrm>
            <a:off x="6819899" y="1333500"/>
            <a:ext cx="1990725" cy="247648"/>
          </a:xfrm>
          <a:ln>
            <a:solidFill>
              <a:schemeClr val="accent1"/>
            </a:solidFill>
          </a:ln>
        </p:spPr>
        <p:txBody>
          <a:bodyPr/>
          <a:lstStyle/>
          <a:p>
            <a:endParaRPr lang="de-DE" dirty="0"/>
          </a:p>
        </p:txBody>
      </p:sp>
      <p:sp>
        <p:nvSpPr>
          <p:cNvPr id="40" name="Textplatzhalter 6"/>
          <p:cNvSpPr>
            <a:spLocks noGrp="1"/>
          </p:cNvSpPr>
          <p:nvPr>
            <p:ph type="body" sz="quarter" idx="15"/>
          </p:nvPr>
        </p:nvSpPr>
        <p:spPr>
          <a:xfrm>
            <a:off x="6819899" y="1677983"/>
            <a:ext cx="1990725" cy="247648"/>
          </a:xfrm>
          <a:ln>
            <a:solidFill>
              <a:schemeClr val="accent1"/>
            </a:solidFill>
          </a:ln>
        </p:spPr>
        <p:txBody>
          <a:bodyPr/>
          <a:lstStyle/>
          <a:p>
            <a:endParaRPr lang="de-DE" dirty="0"/>
          </a:p>
        </p:txBody>
      </p:sp>
      <p:sp>
        <p:nvSpPr>
          <p:cNvPr id="41" name="Textplatzhalter 6"/>
          <p:cNvSpPr>
            <a:spLocks noGrp="1"/>
          </p:cNvSpPr>
          <p:nvPr>
            <p:ph type="body" sz="quarter" idx="15"/>
          </p:nvPr>
        </p:nvSpPr>
        <p:spPr>
          <a:xfrm>
            <a:off x="6819899" y="2018167"/>
            <a:ext cx="1990725" cy="247648"/>
          </a:xfrm>
          <a:ln>
            <a:solidFill>
              <a:schemeClr val="accent1"/>
            </a:solidFill>
          </a:ln>
        </p:spPr>
        <p:txBody>
          <a:bodyPr/>
          <a:lstStyle/>
          <a:p>
            <a:endParaRPr lang="de-DE" dirty="0"/>
          </a:p>
        </p:txBody>
      </p:sp>
      <p:sp>
        <p:nvSpPr>
          <p:cNvPr id="3" name="Text Placeholder 2"/>
          <p:cNvSpPr>
            <a:spLocks noGrp="1"/>
          </p:cNvSpPr>
          <p:nvPr>
            <p:ph type="body" sz="quarter" idx="14"/>
          </p:nvPr>
        </p:nvSpPr>
        <p:spPr>
          <a:ln>
            <a:solidFill>
              <a:schemeClr val="accent1"/>
            </a:solidFill>
          </a:ln>
        </p:spPr>
        <p:txBody>
          <a:bodyPr/>
          <a:lstStyle/>
          <a:p>
            <a:endParaRPr lang="tr-TR"/>
          </a:p>
        </p:txBody>
      </p:sp>
      <p:sp>
        <p:nvSpPr>
          <p:cNvPr id="32" name="Textplatzhalter 5"/>
          <p:cNvSpPr>
            <a:spLocks noGrp="1"/>
          </p:cNvSpPr>
          <p:nvPr>
            <p:ph type="body" sz="quarter" idx="14"/>
          </p:nvPr>
        </p:nvSpPr>
        <p:spPr>
          <a:xfrm>
            <a:off x="5138737" y="989465"/>
            <a:ext cx="1495425" cy="247650"/>
          </a:xfrm>
          <a:ln>
            <a:solidFill>
              <a:schemeClr val="accent1"/>
            </a:solidFill>
          </a:ln>
        </p:spPr>
        <p:txBody>
          <a:bodyPr/>
          <a:lstStyle/>
          <a:p>
            <a:r>
              <a:rPr lang="tr-TR" dirty="0" smtClean="0"/>
              <a:t>Cep Telefonunuz</a:t>
            </a:r>
            <a:endParaRPr lang="tr-TR" dirty="0"/>
          </a:p>
        </p:txBody>
      </p:sp>
      <p:sp>
        <p:nvSpPr>
          <p:cNvPr id="42" name="Textplatzhalter 5"/>
          <p:cNvSpPr>
            <a:spLocks noGrp="1"/>
          </p:cNvSpPr>
          <p:nvPr>
            <p:ph type="body" sz="quarter" idx="14"/>
          </p:nvPr>
        </p:nvSpPr>
        <p:spPr>
          <a:xfrm>
            <a:off x="5138737" y="1364115"/>
            <a:ext cx="1495425" cy="247650"/>
          </a:xfrm>
          <a:ln>
            <a:solidFill>
              <a:schemeClr val="accent1"/>
            </a:solidFill>
          </a:ln>
        </p:spPr>
        <p:txBody>
          <a:bodyPr/>
          <a:lstStyle/>
          <a:p>
            <a:r>
              <a:rPr lang="tr-TR" dirty="0" smtClean="0"/>
              <a:t>Cep Telefonunuz</a:t>
            </a:r>
            <a:endParaRPr lang="tr-TR" dirty="0"/>
          </a:p>
        </p:txBody>
      </p:sp>
      <p:sp>
        <p:nvSpPr>
          <p:cNvPr id="43" name="Textplatzhalter 5"/>
          <p:cNvSpPr>
            <a:spLocks noGrp="1"/>
          </p:cNvSpPr>
          <p:nvPr>
            <p:ph type="body" sz="quarter" idx="14"/>
          </p:nvPr>
        </p:nvSpPr>
        <p:spPr>
          <a:xfrm>
            <a:off x="5138737" y="1677981"/>
            <a:ext cx="1495425" cy="247650"/>
          </a:xfrm>
          <a:ln>
            <a:solidFill>
              <a:schemeClr val="accent1"/>
            </a:solidFill>
          </a:ln>
        </p:spPr>
        <p:txBody>
          <a:bodyPr/>
          <a:lstStyle/>
          <a:p>
            <a:r>
              <a:rPr lang="tr-TR" dirty="0" smtClean="0"/>
              <a:t>Cep Telefonunuz</a:t>
            </a:r>
            <a:endParaRPr lang="tr-TR" dirty="0"/>
          </a:p>
        </p:txBody>
      </p:sp>
      <p:sp>
        <p:nvSpPr>
          <p:cNvPr id="44" name="Textplatzhalter 5"/>
          <p:cNvSpPr>
            <a:spLocks noGrp="1"/>
          </p:cNvSpPr>
          <p:nvPr>
            <p:ph type="body" sz="quarter" idx="14"/>
          </p:nvPr>
        </p:nvSpPr>
        <p:spPr>
          <a:xfrm>
            <a:off x="5138737" y="2015895"/>
            <a:ext cx="1495425" cy="247650"/>
          </a:xfrm>
          <a:ln>
            <a:solidFill>
              <a:schemeClr val="accent1"/>
            </a:solidFill>
          </a:ln>
        </p:spPr>
        <p:txBody>
          <a:bodyPr/>
          <a:lstStyle/>
          <a:p>
            <a:r>
              <a:rPr lang="tr-TR" dirty="0" smtClean="0"/>
              <a:t>Cep Telefonunuz</a:t>
            </a:r>
            <a:endParaRPr lang="tr-TR" dirty="0"/>
          </a:p>
        </p:txBody>
      </p:sp>
      <p:sp>
        <p:nvSpPr>
          <p:cNvPr id="50" name="Textplatzhalter 24"/>
          <p:cNvSpPr>
            <a:spLocks noGrp="1"/>
          </p:cNvSpPr>
          <p:nvPr>
            <p:ph type="body" sz="quarter" idx="37"/>
          </p:nvPr>
        </p:nvSpPr>
        <p:spPr>
          <a:xfrm>
            <a:off x="6010275" y="2649538"/>
            <a:ext cx="2933700" cy="1655762"/>
          </a:xfrm>
          <a:ln>
            <a:solidFill>
              <a:schemeClr val="tx1"/>
            </a:solidFill>
            <a:prstDash val="sysDot"/>
          </a:ln>
        </p:spPr>
        <p:txBody>
          <a:bodyPr/>
          <a:lstStyle/>
          <a:p>
            <a:pPr lvl="0"/>
            <a:r>
              <a:rPr lang="tr-TR" dirty="0"/>
              <a:t>Belirtilen Proje Alanlarından Projenize Uygun olduğunu düşündüğünüz alanı yandaki sayılardan seçerek belirtiniz.</a:t>
            </a:r>
            <a:endParaRPr lang="en-US" dirty="0"/>
          </a:p>
        </p:txBody>
      </p:sp>
      <p:sp>
        <p:nvSpPr>
          <p:cNvPr id="4" name="TextBox 3"/>
          <p:cNvSpPr txBox="1"/>
          <p:nvPr/>
        </p:nvSpPr>
        <p:spPr>
          <a:xfrm>
            <a:off x="187323" y="6461289"/>
            <a:ext cx="8756651" cy="186205"/>
          </a:xfrm>
          <a:prstGeom prst="rect">
            <a:avLst/>
          </a:prstGeom>
          <a:solidFill>
            <a:srgbClr val="FFC000"/>
          </a:solidFill>
        </p:spPr>
        <p:txBody>
          <a:bodyPr wrap="square" lIns="0" tIns="0" rIns="0" bIns="0" rtlCol="0">
            <a:spAutoFit/>
          </a:bodyPr>
          <a:lstStyle/>
          <a:p>
            <a:pPr>
              <a:lnSpc>
                <a:spcPct val="110000"/>
              </a:lnSpc>
              <a:spcAft>
                <a:spcPts val="500"/>
              </a:spcAft>
            </a:pPr>
            <a:r>
              <a:rPr lang="tr-TR" sz="1100" dirty="0">
                <a:solidFill>
                  <a:srgbClr val="000000"/>
                </a:solidFill>
              </a:rPr>
              <a:t>Mail ile birlikte atılan katılımcı sözleşmesini okuyup </a:t>
            </a:r>
            <a:r>
              <a:rPr lang="tr-TR" sz="1100" b="1" dirty="0">
                <a:solidFill>
                  <a:srgbClr val="000000"/>
                </a:solidFill>
              </a:rPr>
              <a:t>onaylamadığınız</a:t>
            </a:r>
            <a:r>
              <a:rPr lang="tr-TR" sz="1100" dirty="0">
                <a:solidFill>
                  <a:srgbClr val="000000"/>
                </a:solidFill>
              </a:rPr>
              <a:t> takdirde başvurunuz onaylanmayacaktır</a:t>
            </a:r>
          </a:p>
        </p:txBody>
      </p:sp>
      <p:sp>
        <p:nvSpPr>
          <p:cNvPr id="45" name="Textplatzhalter 1"/>
          <p:cNvSpPr>
            <a:spLocks noGrp="1"/>
          </p:cNvSpPr>
          <p:nvPr>
            <p:ph type="body" sz="quarter" idx="10"/>
          </p:nvPr>
        </p:nvSpPr>
        <p:spPr>
          <a:xfrm>
            <a:off x="1276350" y="190500"/>
            <a:ext cx="3800475" cy="214313"/>
          </a:xfrm>
        </p:spPr>
        <p:txBody>
          <a:bodyPr/>
          <a:lstStyle/>
          <a:p>
            <a:endParaRPr lang="tr-TR" dirty="0"/>
          </a:p>
        </p:txBody>
      </p:sp>
    </p:spTree>
    <p:extLst>
      <p:ext uri="{BB962C8B-B14F-4D97-AF65-F5344CB8AC3E}">
        <p14:creationId xmlns:p14="http://schemas.microsoft.com/office/powerpoint/2010/main" val="19305331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2"/>
          <p:cNvSpPr txBox="1">
            <a:spLocks noChangeArrowheads="1"/>
          </p:cNvSpPr>
          <p:nvPr/>
        </p:nvSpPr>
        <p:spPr bwMode="auto">
          <a:xfrm>
            <a:off x="7020272" y="6453336"/>
            <a:ext cx="297180" cy="297180"/>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noAutofit/>
          </a:bodyPr>
          <a:lstStyle/>
          <a:p>
            <a:pPr>
              <a:lnSpc>
                <a:spcPct val="107000"/>
              </a:lnSpc>
              <a:spcAft>
                <a:spcPts val="800"/>
              </a:spcAft>
            </a:pPr>
            <a:r>
              <a:rPr lang="tr-TR" sz="1100">
                <a:effectLst/>
                <a:latin typeface="Calibri"/>
                <a:ea typeface="Calibri"/>
                <a:cs typeface="Times New Roman"/>
              </a:rPr>
              <a:t> </a:t>
            </a:r>
          </a:p>
        </p:txBody>
      </p:sp>
      <p:sp>
        <p:nvSpPr>
          <p:cNvPr id="4" name="Text Box 2"/>
          <p:cNvSpPr txBox="1">
            <a:spLocks noChangeArrowheads="1"/>
          </p:cNvSpPr>
          <p:nvPr/>
        </p:nvSpPr>
        <p:spPr bwMode="auto">
          <a:xfrm>
            <a:off x="6882685" y="5733256"/>
            <a:ext cx="1224900" cy="216024"/>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noAutofit/>
          </a:bodyPr>
          <a:lstStyle/>
          <a:p>
            <a:pPr>
              <a:lnSpc>
                <a:spcPct val="107000"/>
              </a:lnSpc>
              <a:spcAft>
                <a:spcPts val="800"/>
              </a:spcAft>
            </a:pPr>
            <a:r>
              <a:rPr lang="tr-TR" sz="1100">
                <a:effectLst/>
                <a:latin typeface="Calibri"/>
                <a:ea typeface="Calibri"/>
                <a:cs typeface="Times New Roman"/>
              </a:rPr>
              <a:t> </a:t>
            </a:r>
          </a:p>
        </p:txBody>
      </p:sp>
    </p:spTree>
    <p:extLst>
      <p:ext uri="{BB962C8B-B14F-4D97-AF65-F5344CB8AC3E}">
        <p14:creationId xmlns:p14="http://schemas.microsoft.com/office/powerpoint/2010/main" val="40412049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PDHL-Group_PPT_4x3">
  <a:themeElements>
    <a:clrScheme name="hyperlinks">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000000"/>
      </a:hlink>
      <a:folHlink>
        <a:srgbClr val="00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Klassisch 2">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12700" cap="flat" cmpd="sng" algn="ctr">
          <a:noFill/>
          <a:prstDash val="solid"/>
          <a:round/>
          <a:headEnd type="none" w="med" len="med"/>
          <a:tailEnd type="none" w="med" len="med"/>
        </a:ln>
        <a:effectLst/>
      </a:spPr>
      <a:bodyPr vert="horz" wrap="square" lIns="72000" tIns="36000" rIns="36000" bIns="36000" numCol="1" rtlCol="0" anchor="t" anchorCtr="0" compatLnSpc="1">
        <a:prstTxWarp prst="textNoShape">
          <a:avLst/>
        </a:prstTxWarp>
      </a:bodyPr>
      <a:lstStyle>
        <a:defPPr marL="0" marR="0" indent="0" algn="l" defTabSz="995363" rtl="0" eaLnBrk="0" fontAlgn="base" latinLnBrk="0" hangingPunct="0">
          <a:lnSpc>
            <a:spcPct val="100000"/>
          </a:lnSpc>
          <a:spcBef>
            <a:spcPct val="0"/>
          </a:spcBef>
          <a:spcAft>
            <a:spcPct val="0"/>
          </a:spcAft>
          <a:buClrTx/>
          <a:buSzTx/>
          <a:buFontTx/>
          <a:buNone/>
          <a:tabLst/>
          <a:defRPr kumimoji="0" sz="1400" b="0" i="0" u="none" strike="noStrike" cap="none" normalizeH="0" baseline="0" dirty="0" err="1" smtClean="0">
            <a:ln>
              <a:noFill/>
            </a:ln>
            <a:solidFill>
              <a:schemeClr val="tx1"/>
            </a:solidFill>
            <a:effectLst/>
          </a:defRPr>
        </a:defPPr>
      </a:lstStyle>
    </a:spDef>
    <a:lnDef>
      <a:spPr bwMode="auto">
        <a:solidFill>
          <a:schemeClr val="bg1"/>
        </a:solidFill>
        <a:ln w="12700" cap="flat" cmpd="sng" algn="ctr">
          <a:solidFill>
            <a:schemeClr val="accent2"/>
          </a:solidFill>
          <a:prstDash val="solid"/>
          <a:round/>
          <a:headEnd type="none" w="med" len="med"/>
          <a:tailEnd type="none"/>
        </a:ln>
        <a:effectLst/>
      </a:spPr>
      <a:bodyPr/>
      <a:lstStyle/>
    </a:lnDef>
    <a:txDef>
      <a:spPr>
        <a:noFill/>
      </a:spPr>
      <a:bodyPr wrap="square" lIns="0" tIns="0" rIns="0" bIns="0" rtlCol="0">
        <a:spAutoFit/>
      </a:bodyPr>
      <a:lstStyle>
        <a:defPPr>
          <a:lnSpc>
            <a:spcPct val="110000"/>
          </a:lnSpc>
          <a:spcAft>
            <a:spcPts val="500"/>
          </a:spcAft>
          <a:defRPr sz="1400" dirty="0" err="1" smtClean="0"/>
        </a:defPPr>
      </a:lstStyle>
    </a:txDef>
  </a:objectDefaults>
  <a:extraClrSchemeLst>
    <a:extraClrScheme>
      <a:clrScheme name="DPDHL_2010_color_scheme">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100% Postyellow">
      <a:srgbClr val="FFCC00"/>
    </a:custClr>
    <a:custClr name="70% Postyellow">
      <a:srgbClr val="FFDB4C"/>
    </a:custClr>
    <a:custClr name="45% Postyellow">
      <a:srgbClr val="FFE88C"/>
    </a:custClr>
    <a:custClr name="20% Postyellow">
      <a:srgbClr val="FFF5CC"/>
    </a:custClr>
    <a:custClr name="None">
      <a:srgbClr val="FFFFFF"/>
    </a:custClr>
    <a:custClr name="DHL Red">
      <a:srgbClr val="D40511"/>
    </a:custClr>
    <a:custClr name="None">
      <a:srgbClr val="FFFFFF"/>
    </a:custClr>
    <a:custClr name="None">
      <a:srgbClr val="FFFFFF"/>
    </a:custClr>
    <a:custClr name="None">
      <a:srgbClr val="FFFFFF"/>
    </a:custClr>
    <a:custClr name="None">
      <a:srgbClr val="FFFFFF"/>
    </a:custClr>
    <a:custClr name="Black">
      <a:srgbClr val="000000"/>
    </a:custClr>
    <a:custClr name="60% Black">
      <a:srgbClr val="666666"/>
    </a:custClr>
    <a:custClr name="40% Black">
      <a:srgbClr val="999999"/>
    </a:custClr>
    <a:custClr name="25% Black">
      <a:srgbClr val="BFBFBF"/>
    </a:custClr>
    <a:custClr name="8% Black">
      <a:srgbClr val="E4E4E4"/>
    </a:custClr>
    <a:custClr name="None">
      <a:srgbClr val="FFFFFF"/>
    </a:custClr>
    <a:custClr name="None">
      <a:srgbClr val="FFFFFF"/>
    </a:custClr>
    <a:custClr name="None">
      <a:srgbClr val="FFFFFF"/>
    </a:custClr>
    <a:custClr name="None">
      <a:srgbClr val="FFFFFF"/>
    </a:custClr>
    <a:custClr name="None">
      <a:srgbClr val="FFFFFF"/>
    </a:custClr>
  </a:custClrLst>
  <a:extLst>
    <a:ext uri="{05A4C25C-085E-4340-85A3-A5531E510DB2}">
      <thm15:themeFamily xmlns="" xmlns:thm15="http://schemas.microsoft.com/office/thememl/2012/main" name="DPDHL-Group_PPT_4x3.potx" id="{EC1F9622-1BF0-4E3A-BA93-C99698A4C087}" vid="{3F026687-4F53-4E32-BF08-F17D41E995C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ontrol xmlns="http://schemas.microsoft.com/VisualStudio/2011/storyboarding/control">
  <Id Name="3196f10d-9aa5-4f3d-9e14-7e28f7353b42" Revision="1" Stencil="System.MyShapes" StencilVersion="1.0"/>
</Control>
</file>

<file path=customXml/itemProps1.xml><?xml version="1.0" encoding="utf-8"?>
<ds:datastoreItem xmlns:ds="http://schemas.openxmlformats.org/officeDocument/2006/customXml" ds:itemID="{ADC61B5E-E323-4531-B1F5-F7FF0BBE1528}">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otalTime>13</TotalTime>
  <Words>44</Words>
  <Application>Microsoft Office PowerPoint</Application>
  <PresentationFormat>On-screen Show (4:3)</PresentationFormat>
  <Paragraphs>12</Paragraphs>
  <Slides>2</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5" baseType="lpstr">
      <vt:lpstr>Office Theme</vt:lpstr>
      <vt:lpstr>DPDHL-Group_PPT_4x3</vt:lpstr>
      <vt:lpstr>think-cell Folie</vt:lpstr>
      <vt:lpstr>PowerPoint Presentation</vt:lpstr>
      <vt:lpstr>PowerPoint Presentation</vt:lpstr>
    </vt:vector>
  </TitlesOfParts>
  <Company>DH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Ömran Emre Boler (DHL TR)</dc:creator>
  <cp:lastModifiedBy>Ömran Emre Boler (DHL TR)</cp:lastModifiedBy>
  <cp:revision>5</cp:revision>
  <dcterms:created xsi:type="dcterms:W3CDTF">2019-03-04T08:15:19Z</dcterms:created>
  <dcterms:modified xsi:type="dcterms:W3CDTF">2019-03-05T06:14:22Z</dcterms:modified>
</cp:coreProperties>
</file>